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129_40981100.xml" ContentType="application/vnd.ms-powerpoint.comment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7BBF5469_BA41A2D0.xml" ContentType="application/vnd.ms-powerpoint.comment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Lst>
  <p:notesMasterIdLst>
    <p:notesMasterId r:id="rId55"/>
  </p:notesMasterIdLst>
  <p:sldIdLst>
    <p:sldId id="1980" r:id="rId5"/>
    <p:sldId id="440" r:id="rId6"/>
    <p:sldId id="1983" r:id="rId7"/>
    <p:sldId id="441" r:id="rId8"/>
    <p:sldId id="297" r:id="rId9"/>
    <p:sldId id="2076136574" r:id="rId10"/>
    <p:sldId id="2076136575" r:id="rId11"/>
    <p:sldId id="2076136573" r:id="rId12"/>
    <p:sldId id="2076136581" r:id="rId13"/>
    <p:sldId id="2076136579" r:id="rId14"/>
    <p:sldId id="2076136558" r:id="rId15"/>
    <p:sldId id="2076136580" r:id="rId16"/>
    <p:sldId id="2076136562" r:id="rId17"/>
    <p:sldId id="2076136559" r:id="rId18"/>
    <p:sldId id="2076136600" r:id="rId19"/>
    <p:sldId id="2076136608" r:id="rId20"/>
    <p:sldId id="2076136607" r:id="rId21"/>
    <p:sldId id="2076136571" r:id="rId22"/>
    <p:sldId id="2076136577" r:id="rId23"/>
    <p:sldId id="2076136553" r:id="rId24"/>
    <p:sldId id="2076136578" r:id="rId25"/>
    <p:sldId id="2076136583" r:id="rId26"/>
    <p:sldId id="2076136561" r:id="rId27"/>
    <p:sldId id="2076136563" r:id="rId28"/>
    <p:sldId id="2076136582" r:id="rId29"/>
    <p:sldId id="2076136625" r:id="rId30"/>
    <p:sldId id="2076136618" r:id="rId31"/>
    <p:sldId id="2076136584" r:id="rId32"/>
    <p:sldId id="2076136609" r:id="rId33"/>
    <p:sldId id="2076136610" r:id="rId34"/>
    <p:sldId id="2076136611" r:id="rId35"/>
    <p:sldId id="2076136612" r:id="rId36"/>
    <p:sldId id="2076136613" r:id="rId37"/>
    <p:sldId id="2076136620" r:id="rId38"/>
    <p:sldId id="2076136619" r:id="rId39"/>
    <p:sldId id="2076136621" r:id="rId40"/>
    <p:sldId id="2076136592" r:id="rId41"/>
    <p:sldId id="2076136623" r:id="rId42"/>
    <p:sldId id="2076136622" r:id="rId43"/>
    <p:sldId id="2076136624" r:id="rId44"/>
    <p:sldId id="2076136565" r:id="rId45"/>
    <p:sldId id="2076136564" r:id="rId46"/>
    <p:sldId id="444" r:id="rId47"/>
    <p:sldId id="2076136627" r:id="rId48"/>
    <p:sldId id="2076136628" r:id="rId49"/>
    <p:sldId id="1993" r:id="rId50"/>
    <p:sldId id="2076136554" r:id="rId51"/>
    <p:sldId id="2076136556" r:id="rId52"/>
    <p:sldId id="2076136555" r:id="rId53"/>
    <p:sldId id="2076136569" r:id="rId5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73114B3-3877-4DD7-8CE0-6C52756EAFF1}">
          <p14:sldIdLst>
            <p14:sldId id="1980"/>
            <p14:sldId id="440"/>
            <p14:sldId id="1983"/>
            <p14:sldId id="441"/>
            <p14:sldId id="297"/>
            <p14:sldId id="2076136574"/>
            <p14:sldId id="2076136575"/>
            <p14:sldId id="2076136573"/>
            <p14:sldId id="2076136581"/>
            <p14:sldId id="2076136579"/>
            <p14:sldId id="2076136558"/>
            <p14:sldId id="2076136580"/>
            <p14:sldId id="2076136562"/>
            <p14:sldId id="2076136559"/>
            <p14:sldId id="2076136600"/>
            <p14:sldId id="2076136608"/>
            <p14:sldId id="2076136607"/>
            <p14:sldId id="2076136571"/>
            <p14:sldId id="2076136577"/>
            <p14:sldId id="2076136553"/>
            <p14:sldId id="2076136578"/>
            <p14:sldId id="2076136583"/>
            <p14:sldId id="2076136561"/>
            <p14:sldId id="2076136563"/>
            <p14:sldId id="2076136582"/>
            <p14:sldId id="2076136625"/>
            <p14:sldId id="2076136618"/>
            <p14:sldId id="2076136584"/>
            <p14:sldId id="2076136609"/>
            <p14:sldId id="2076136610"/>
            <p14:sldId id="2076136611"/>
            <p14:sldId id="2076136612"/>
            <p14:sldId id="2076136613"/>
            <p14:sldId id="2076136620"/>
            <p14:sldId id="2076136619"/>
            <p14:sldId id="2076136621"/>
            <p14:sldId id="2076136592"/>
            <p14:sldId id="2076136623"/>
            <p14:sldId id="2076136622"/>
            <p14:sldId id="2076136624"/>
            <p14:sldId id="2076136565"/>
            <p14:sldId id="2076136564"/>
            <p14:sldId id="444"/>
          </p14:sldIdLst>
        </p14:section>
        <p14:section name="Licensing" id="{F3C31ADF-D6C0-4DA8-8E59-F784B4EF3EDF}">
          <p14:sldIdLst>
            <p14:sldId id="2076136627"/>
            <p14:sldId id="2076136628"/>
            <p14:sldId id="1993"/>
            <p14:sldId id="2076136554"/>
            <p14:sldId id="2076136556"/>
            <p14:sldId id="2076136555"/>
            <p14:sldId id="2076136569"/>
          </p14:sldIdLst>
        </p14:section>
        <p14:section name="End" id="{11C94EAC-C93F-4A16-8CB5-207B7AC39DDD}">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698736-CD17-8B3B-27A8-C6F72DD6C94B}" name="Srikanth Gutha" initials="SG" userId="S::srigutha@microsoft.com::1de4ec77-3cd4-4727-9d7c-74657aaa26f5" providerId="AD"/>
  <p188:author id="{7D3EDEC1-9290-8C12-D6B7-B7AED5C706AE}" name="Yvonne Hamilton" initials="YH" userId="S::yharryma@microsoft.com::d4c2c114-0be8-4b0d-836d-cedba23cf6cf" providerId="AD"/>
  <p188:author id="{B1B281C7-6608-8FFE-52FA-A1B9E11EA095}" name="Srikanth Gutha" initials="SG" userId="S::Srigutha@microsoft.com::1de4ec77-3cd4-4727-9d7c-74657aaa26f5" providerId="AD"/>
  <p188:author id="{ED7DE5FC-625B-55B1-8D03-2D81BD13CEC8}" name="Amber Weise" initials="AW" userId="S::amweise@microsoft.com::3ca30e27-9a99-4c36-a22b-2cf2c031f50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mber Weise" initials="AW" lastIdx="5" clrIdx="0">
    <p:extLst>
      <p:ext uri="{19B8F6BF-5375-455C-9EA6-DF929625EA0E}">
        <p15:presenceInfo xmlns:p15="http://schemas.microsoft.com/office/powerpoint/2012/main" userId="S::amweise@microsoft.com::3ca30e27-9a99-4c36-a22b-2cf2c031f50a" providerId="AD"/>
      </p:ext>
    </p:extLst>
  </p:cmAuthor>
  <p:cmAuthor id="2" name="Srikanth Gutha" initials="SG" lastIdx="1" clrIdx="1">
    <p:extLst>
      <p:ext uri="{19B8F6BF-5375-455C-9EA6-DF929625EA0E}">
        <p15:presenceInfo xmlns:p15="http://schemas.microsoft.com/office/powerpoint/2012/main" userId="S::srigutha@microsoft.com::1de4ec77-3cd4-4727-9d7c-74657aaa26f5" providerId="AD"/>
      </p:ext>
    </p:extLst>
  </p:cmAuthor>
  <p:cmAuthor id="3" name="User1" initials="U"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74277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0A9FBB-DD1F-4FCE-AE15-CBDF3C241A49}" v="3" dt="2020-07-30T15:24:13.787"/>
    <p1510:client id="{F9B473F7-8DE6-3019-4DD5-83E3631B8D38}" v="8" dt="2020-08-26T14:57:26.4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50" autoAdjust="0"/>
    <p:restoredTop sz="74711" autoAdjust="0"/>
  </p:normalViewPr>
  <p:slideViewPr>
    <p:cSldViewPr snapToGrid="0">
      <p:cViewPr varScale="1">
        <p:scale>
          <a:sx n="57" d="100"/>
          <a:sy n="57" d="100"/>
        </p:scale>
        <p:origin x="-114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rikanth Gutha" userId="1de4ec77-3cd4-4727-9d7c-74657aaa26f5" providerId="ADAL" clId="{800A9FBB-DD1F-4FCE-AE15-CBDF3C241A49}"/>
    <pc:docChg chg="undo custSel addSld delSld modSld sldOrd modSection">
      <pc:chgData name="Srikanth Gutha" userId="1de4ec77-3cd4-4727-9d7c-74657aaa26f5" providerId="ADAL" clId="{800A9FBB-DD1F-4FCE-AE15-CBDF3C241A49}" dt="2020-07-30T21:37:56.371" v="34" actId="6549"/>
      <pc:docMkLst>
        <pc:docMk/>
      </pc:docMkLst>
      <pc:sldChg chg="del">
        <pc:chgData name="Srikanth Gutha" userId="1de4ec77-3cd4-4727-9d7c-74657aaa26f5" providerId="ADAL" clId="{800A9FBB-DD1F-4FCE-AE15-CBDF3C241A49}" dt="2020-07-30T15:23:30.682" v="0" actId="47"/>
        <pc:sldMkLst>
          <pc:docMk/>
          <pc:sldMk cId="2612122493" sldId="405"/>
        </pc:sldMkLst>
      </pc:sldChg>
      <pc:sldChg chg="ord">
        <pc:chgData name="Srikanth Gutha" userId="1de4ec77-3cd4-4727-9d7c-74657aaa26f5" providerId="ADAL" clId="{800A9FBB-DD1F-4FCE-AE15-CBDF3C241A49}" dt="2020-07-30T16:06:32.907" v="32"/>
        <pc:sldMkLst>
          <pc:docMk/>
          <pc:sldMk cId="1755114775" sldId="444"/>
        </pc:sldMkLst>
      </pc:sldChg>
      <pc:sldChg chg="del">
        <pc:chgData name="Srikanth Gutha" userId="1de4ec77-3cd4-4727-9d7c-74657aaa26f5" providerId="ADAL" clId="{800A9FBB-DD1F-4FCE-AE15-CBDF3C241A49}" dt="2020-07-30T15:26:37.987" v="3" actId="47"/>
        <pc:sldMkLst>
          <pc:docMk/>
          <pc:sldMk cId="2044352583" sldId="2076136540"/>
        </pc:sldMkLst>
      </pc:sldChg>
      <pc:sldChg chg="del">
        <pc:chgData name="Srikanth Gutha" userId="1de4ec77-3cd4-4727-9d7c-74657aaa26f5" providerId="ADAL" clId="{800A9FBB-DD1F-4FCE-AE15-CBDF3C241A49}" dt="2020-07-30T15:29:56.091" v="13" actId="47"/>
        <pc:sldMkLst>
          <pc:docMk/>
          <pc:sldMk cId="154003345" sldId="2076136541"/>
        </pc:sldMkLst>
      </pc:sldChg>
      <pc:sldChg chg="del">
        <pc:chgData name="Srikanth Gutha" userId="1de4ec77-3cd4-4727-9d7c-74657aaa26f5" providerId="ADAL" clId="{800A9FBB-DD1F-4FCE-AE15-CBDF3C241A49}" dt="2020-07-30T15:29:51.831" v="12" actId="47"/>
        <pc:sldMkLst>
          <pc:docMk/>
          <pc:sldMk cId="391012951" sldId="2076136542"/>
        </pc:sldMkLst>
      </pc:sldChg>
      <pc:sldChg chg="del">
        <pc:chgData name="Srikanth Gutha" userId="1de4ec77-3cd4-4727-9d7c-74657aaa26f5" providerId="ADAL" clId="{800A9FBB-DD1F-4FCE-AE15-CBDF3C241A49}" dt="2020-07-30T15:26:41.901" v="4" actId="47"/>
        <pc:sldMkLst>
          <pc:docMk/>
          <pc:sldMk cId="3271323399" sldId="2076136543"/>
        </pc:sldMkLst>
      </pc:sldChg>
      <pc:sldChg chg="del">
        <pc:chgData name="Srikanth Gutha" userId="1de4ec77-3cd4-4727-9d7c-74657aaa26f5" providerId="ADAL" clId="{800A9FBB-DD1F-4FCE-AE15-CBDF3C241A49}" dt="2020-07-30T15:26:44.005" v="5" actId="47"/>
        <pc:sldMkLst>
          <pc:docMk/>
          <pc:sldMk cId="2919320408" sldId="2076136544"/>
        </pc:sldMkLst>
      </pc:sldChg>
      <pc:sldChg chg="del">
        <pc:chgData name="Srikanth Gutha" userId="1de4ec77-3cd4-4727-9d7c-74657aaa26f5" providerId="ADAL" clId="{800A9FBB-DD1F-4FCE-AE15-CBDF3C241A49}" dt="2020-07-30T15:29:58.024" v="14" actId="47"/>
        <pc:sldMkLst>
          <pc:docMk/>
          <pc:sldMk cId="3149406003" sldId="2076136566"/>
        </pc:sldMkLst>
      </pc:sldChg>
      <pc:sldChg chg="del">
        <pc:chgData name="Srikanth Gutha" userId="1de4ec77-3cd4-4727-9d7c-74657aaa26f5" providerId="ADAL" clId="{800A9FBB-DD1F-4FCE-AE15-CBDF3C241A49}" dt="2020-07-30T15:31:27.885" v="15" actId="47"/>
        <pc:sldMkLst>
          <pc:docMk/>
          <pc:sldMk cId="4245619757" sldId="2076136567"/>
        </pc:sldMkLst>
      </pc:sldChg>
      <pc:sldChg chg="del">
        <pc:chgData name="Srikanth Gutha" userId="1de4ec77-3cd4-4727-9d7c-74657aaa26f5" providerId="ADAL" clId="{800A9FBB-DD1F-4FCE-AE15-CBDF3C241A49}" dt="2020-07-30T15:27:10.542" v="7" actId="47"/>
        <pc:sldMkLst>
          <pc:docMk/>
          <pc:sldMk cId="100854004" sldId="2076136570"/>
        </pc:sldMkLst>
      </pc:sldChg>
      <pc:sldChg chg="del">
        <pc:chgData name="Srikanth Gutha" userId="1de4ec77-3cd4-4727-9d7c-74657aaa26f5" providerId="ADAL" clId="{800A9FBB-DD1F-4FCE-AE15-CBDF3C241A49}" dt="2020-07-30T15:31:29.973" v="16" actId="47"/>
        <pc:sldMkLst>
          <pc:docMk/>
          <pc:sldMk cId="3882535038" sldId="2076136572"/>
        </pc:sldMkLst>
      </pc:sldChg>
      <pc:sldChg chg="modSp">
        <pc:chgData name="Srikanth Gutha" userId="1de4ec77-3cd4-4727-9d7c-74657aaa26f5" providerId="ADAL" clId="{800A9FBB-DD1F-4FCE-AE15-CBDF3C241A49}" dt="2020-07-30T15:24:11.782" v="2"/>
        <pc:sldMkLst>
          <pc:docMk/>
          <pc:sldMk cId="530481384" sldId="2076136579"/>
        </pc:sldMkLst>
        <pc:graphicFrameChg chg="mod">
          <ac:chgData name="Srikanth Gutha" userId="1de4ec77-3cd4-4727-9d7c-74657aaa26f5" providerId="ADAL" clId="{800A9FBB-DD1F-4FCE-AE15-CBDF3C241A49}" dt="2020-07-30T15:24:11.782" v="2"/>
          <ac:graphicFrameMkLst>
            <pc:docMk/>
            <pc:sldMk cId="530481384" sldId="2076136579"/>
            <ac:graphicFrameMk id="8" creationId="{E95C2415-776F-4CAB-A08B-09C4CEED7D6D}"/>
          </ac:graphicFrameMkLst>
        </pc:graphicFrameChg>
      </pc:sldChg>
      <pc:sldChg chg="del">
        <pc:chgData name="Srikanth Gutha" userId="1de4ec77-3cd4-4727-9d7c-74657aaa26f5" providerId="ADAL" clId="{800A9FBB-DD1F-4FCE-AE15-CBDF3C241A49}" dt="2020-07-30T16:04:53.182" v="17" actId="47"/>
        <pc:sldMkLst>
          <pc:docMk/>
          <pc:sldMk cId="2192057541" sldId="2076136585"/>
        </pc:sldMkLst>
      </pc:sldChg>
      <pc:sldChg chg="del">
        <pc:chgData name="Srikanth Gutha" userId="1de4ec77-3cd4-4727-9d7c-74657aaa26f5" providerId="ADAL" clId="{800A9FBB-DD1F-4FCE-AE15-CBDF3C241A49}" dt="2020-07-30T16:05:01.727" v="19" actId="47"/>
        <pc:sldMkLst>
          <pc:docMk/>
          <pc:sldMk cId="3124030828" sldId="2076136586"/>
        </pc:sldMkLst>
      </pc:sldChg>
      <pc:sldChg chg="del">
        <pc:chgData name="Srikanth Gutha" userId="1de4ec77-3cd4-4727-9d7c-74657aaa26f5" providerId="ADAL" clId="{800A9FBB-DD1F-4FCE-AE15-CBDF3C241A49}" dt="2020-07-30T16:05:03.885" v="20" actId="47"/>
        <pc:sldMkLst>
          <pc:docMk/>
          <pc:sldMk cId="3793468756" sldId="2076136587"/>
        </pc:sldMkLst>
      </pc:sldChg>
      <pc:sldChg chg="del">
        <pc:chgData name="Srikanth Gutha" userId="1de4ec77-3cd4-4727-9d7c-74657aaa26f5" providerId="ADAL" clId="{800A9FBB-DD1F-4FCE-AE15-CBDF3C241A49}" dt="2020-07-30T16:05:09.941" v="21" actId="47"/>
        <pc:sldMkLst>
          <pc:docMk/>
          <pc:sldMk cId="1070907793" sldId="2076136588"/>
        </pc:sldMkLst>
      </pc:sldChg>
      <pc:sldChg chg="del">
        <pc:chgData name="Srikanth Gutha" userId="1de4ec77-3cd4-4727-9d7c-74657aaa26f5" providerId="ADAL" clId="{800A9FBB-DD1F-4FCE-AE15-CBDF3C241A49}" dt="2020-07-30T16:05:12.987" v="22" actId="47"/>
        <pc:sldMkLst>
          <pc:docMk/>
          <pc:sldMk cId="2907570554" sldId="2076136589"/>
        </pc:sldMkLst>
      </pc:sldChg>
      <pc:sldChg chg="del">
        <pc:chgData name="Srikanth Gutha" userId="1de4ec77-3cd4-4727-9d7c-74657aaa26f5" providerId="ADAL" clId="{800A9FBB-DD1F-4FCE-AE15-CBDF3C241A49}" dt="2020-07-30T16:05:16.660" v="23" actId="47"/>
        <pc:sldMkLst>
          <pc:docMk/>
          <pc:sldMk cId="1889834661" sldId="2076136590"/>
        </pc:sldMkLst>
      </pc:sldChg>
      <pc:sldChg chg="add del">
        <pc:chgData name="Srikanth Gutha" userId="1de4ec77-3cd4-4727-9d7c-74657aaa26f5" providerId="ADAL" clId="{800A9FBB-DD1F-4FCE-AE15-CBDF3C241A49}" dt="2020-07-30T16:05:23.558" v="26" actId="47"/>
        <pc:sldMkLst>
          <pc:docMk/>
          <pc:sldMk cId="2267899636" sldId="2076136591"/>
        </pc:sldMkLst>
      </pc:sldChg>
      <pc:sldChg chg="del">
        <pc:chgData name="Srikanth Gutha" userId="1de4ec77-3cd4-4727-9d7c-74657aaa26f5" providerId="ADAL" clId="{800A9FBB-DD1F-4FCE-AE15-CBDF3C241A49}" dt="2020-07-30T16:05:37.855" v="27" actId="47"/>
        <pc:sldMkLst>
          <pc:docMk/>
          <pc:sldMk cId="2792761590" sldId="2076136593"/>
        </pc:sldMkLst>
      </pc:sldChg>
      <pc:sldChg chg="del">
        <pc:chgData name="Srikanth Gutha" userId="1de4ec77-3cd4-4727-9d7c-74657aaa26f5" providerId="ADAL" clId="{800A9FBB-DD1F-4FCE-AE15-CBDF3C241A49}" dt="2020-07-30T16:05:37.855" v="27" actId="47"/>
        <pc:sldMkLst>
          <pc:docMk/>
          <pc:sldMk cId="1800952542" sldId="2076136594"/>
        </pc:sldMkLst>
      </pc:sldChg>
      <pc:sldChg chg="del">
        <pc:chgData name="Srikanth Gutha" userId="1de4ec77-3cd4-4727-9d7c-74657aaa26f5" providerId="ADAL" clId="{800A9FBB-DD1F-4FCE-AE15-CBDF3C241A49}" dt="2020-07-30T16:05:37.855" v="27" actId="47"/>
        <pc:sldMkLst>
          <pc:docMk/>
          <pc:sldMk cId="1451217846" sldId="2076136595"/>
        </pc:sldMkLst>
      </pc:sldChg>
      <pc:sldChg chg="del">
        <pc:chgData name="Srikanth Gutha" userId="1de4ec77-3cd4-4727-9d7c-74657aaa26f5" providerId="ADAL" clId="{800A9FBB-DD1F-4FCE-AE15-CBDF3C241A49}" dt="2020-07-30T16:05:37.855" v="27" actId="47"/>
        <pc:sldMkLst>
          <pc:docMk/>
          <pc:sldMk cId="2896955270" sldId="2076136596"/>
        </pc:sldMkLst>
      </pc:sldChg>
      <pc:sldChg chg="del">
        <pc:chgData name="Srikanth Gutha" userId="1de4ec77-3cd4-4727-9d7c-74657aaa26f5" providerId="ADAL" clId="{800A9FBB-DD1F-4FCE-AE15-CBDF3C241A49}" dt="2020-07-30T16:05:37.855" v="27" actId="47"/>
        <pc:sldMkLst>
          <pc:docMk/>
          <pc:sldMk cId="2059380165" sldId="2076136597"/>
        </pc:sldMkLst>
      </pc:sldChg>
      <pc:sldChg chg="del">
        <pc:chgData name="Srikanth Gutha" userId="1de4ec77-3cd4-4727-9d7c-74657aaa26f5" providerId="ADAL" clId="{800A9FBB-DD1F-4FCE-AE15-CBDF3C241A49}" dt="2020-07-30T16:05:42.202" v="28" actId="47"/>
        <pc:sldMkLst>
          <pc:docMk/>
          <pc:sldMk cId="3967002372" sldId="2076136598"/>
        </pc:sldMkLst>
      </pc:sldChg>
      <pc:sldChg chg="del">
        <pc:chgData name="Srikanth Gutha" userId="1de4ec77-3cd4-4727-9d7c-74657aaa26f5" providerId="ADAL" clId="{800A9FBB-DD1F-4FCE-AE15-CBDF3C241A49}" dt="2020-07-30T15:28:06.535" v="9" actId="47"/>
        <pc:sldMkLst>
          <pc:docMk/>
          <pc:sldMk cId="1692781659" sldId="2076136601"/>
        </pc:sldMkLst>
      </pc:sldChg>
      <pc:sldChg chg="add del modNotesTx">
        <pc:chgData name="Srikanth Gutha" userId="1de4ec77-3cd4-4727-9d7c-74657aaa26f5" providerId="ADAL" clId="{800A9FBB-DD1F-4FCE-AE15-CBDF3C241A49}" dt="2020-07-30T21:37:56.371" v="34" actId="6549"/>
        <pc:sldMkLst>
          <pc:docMk/>
          <pc:sldMk cId="2142719349" sldId="2076136602"/>
        </pc:sldMkLst>
      </pc:sldChg>
      <pc:sldChg chg="add del">
        <pc:chgData name="Srikanth Gutha" userId="1de4ec77-3cd4-4727-9d7c-74657aaa26f5" providerId="ADAL" clId="{800A9FBB-DD1F-4FCE-AE15-CBDF3C241A49}" dt="2020-07-30T15:28:46.116" v="11" actId="47"/>
        <pc:sldMkLst>
          <pc:docMk/>
          <pc:sldMk cId="51697965" sldId="2076136603"/>
        </pc:sldMkLst>
      </pc:sldChg>
      <pc:sldChg chg="add del">
        <pc:chgData name="Srikanth Gutha" userId="1de4ec77-3cd4-4727-9d7c-74657aaa26f5" providerId="ADAL" clId="{800A9FBB-DD1F-4FCE-AE15-CBDF3C241A49}" dt="2020-07-30T15:28:46.116" v="11" actId="47"/>
        <pc:sldMkLst>
          <pc:docMk/>
          <pc:sldMk cId="1354520245" sldId="2076136604"/>
        </pc:sldMkLst>
      </pc:sldChg>
      <pc:sldChg chg="add del">
        <pc:chgData name="Srikanth Gutha" userId="1de4ec77-3cd4-4727-9d7c-74657aaa26f5" providerId="ADAL" clId="{800A9FBB-DD1F-4FCE-AE15-CBDF3C241A49}" dt="2020-07-30T15:28:46.116" v="11" actId="47"/>
        <pc:sldMkLst>
          <pc:docMk/>
          <pc:sldMk cId="2488288448" sldId="2076136605"/>
        </pc:sldMkLst>
      </pc:sldChg>
      <pc:sldChg chg="add del">
        <pc:chgData name="Srikanth Gutha" userId="1de4ec77-3cd4-4727-9d7c-74657aaa26f5" providerId="ADAL" clId="{800A9FBB-DD1F-4FCE-AE15-CBDF3C241A49}" dt="2020-07-30T15:28:46.116" v="11" actId="47"/>
        <pc:sldMkLst>
          <pc:docMk/>
          <pc:sldMk cId="2005713003" sldId="2076136606"/>
        </pc:sldMkLst>
      </pc:sldChg>
      <pc:sldChg chg="del">
        <pc:chgData name="Srikanth Gutha" userId="1de4ec77-3cd4-4727-9d7c-74657aaa26f5" providerId="ADAL" clId="{800A9FBB-DD1F-4FCE-AE15-CBDF3C241A49}" dt="2020-07-30T16:04:56.815" v="18" actId="47"/>
        <pc:sldMkLst>
          <pc:docMk/>
          <pc:sldMk cId="1435692506" sldId="2076136614"/>
        </pc:sldMkLst>
      </pc:sldChg>
      <pc:sldChg chg="del">
        <pc:chgData name="Srikanth Gutha" userId="1de4ec77-3cd4-4727-9d7c-74657aaa26f5" providerId="ADAL" clId="{800A9FBB-DD1F-4FCE-AE15-CBDF3C241A49}" dt="2020-07-30T15:27:50.525" v="8" actId="47"/>
        <pc:sldMkLst>
          <pc:docMk/>
          <pc:sldMk cId="19892092" sldId="2076136616"/>
        </pc:sldMkLst>
      </pc:sldChg>
      <pc:sldChg chg="del">
        <pc:chgData name="Srikanth Gutha" userId="1de4ec77-3cd4-4727-9d7c-74657aaa26f5" providerId="ADAL" clId="{800A9FBB-DD1F-4FCE-AE15-CBDF3C241A49}" dt="2020-07-30T15:26:56.715" v="6" actId="47"/>
        <pc:sldMkLst>
          <pc:docMk/>
          <pc:sldMk cId="2603542776" sldId="2076136617"/>
        </pc:sldMkLst>
      </pc:sldChg>
      <pc:sldChg chg="mod modShow">
        <pc:chgData name="Srikanth Gutha" userId="1de4ec77-3cd4-4727-9d7c-74657aaa26f5" providerId="ADAL" clId="{800A9FBB-DD1F-4FCE-AE15-CBDF3C241A49}" dt="2020-07-30T16:06:39.827" v="33" actId="729"/>
        <pc:sldMkLst>
          <pc:docMk/>
          <pc:sldMk cId="4132214964" sldId="2076136627"/>
        </pc:sldMkLst>
      </pc:sldChg>
      <pc:sldChg chg="mod modShow">
        <pc:chgData name="Srikanth Gutha" userId="1de4ec77-3cd4-4727-9d7c-74657aaa26f5" providerId="ADAL" clId="{800A9FBB-DD1F-4FCE-AE15-CBDF3C241A49}" dt="2020-07-30T16:06:39.827" v="33" actId="729"/>
        <pc:sldMkLst>
          <pc:docMk/>
          <pc:sldMk cId="1457339445" sldId="2076136628"/>
        </pc:sldMkLst>
      </pc:sldChg>
    </pc:docChg>
  </pc:docChgLst>
  <pc:docChgLst>
    <pc:chgData name="Srikanth Gutha" userId="1de4ec77-3cd4-4727-9d7c-74657aaa26f5" providerId="ADAL" clId="{2A66C384-9EC8-45D7-B90D-F2922B9B0060}"/>
    <pc:docChg chg="undo custSel addSld delSld modSld sldOrd modSection">
      <pc:chgData name="Srikanth Gutha" userId="1de4ec77-3cd4-4727-9d7c-74657aaa26f5" providerId="ADAL" clId="{2A66C384-9EC8-45D7-B90D-F2922B9B0060}" dt="2020-07-28T21:34:21.137" v="1949" actId="729"/>
      <pc:docMkLst>
        <pc:docMk/>
      </pc:docMkLst>
      <pc:sldChg chg="modSp mod modShow">
        <pc:chgData name="Srikanth Gutha" userId="1de4ec77-3cd4-4727-9d7c-74657aaa26f5" providerId="ADAL" clId="{2A66C384-9EC8-45D7-B90D-F2922B9B0060}" dt="2020-07-28T19:43:07.966" v="5" actId="729"/>
        <pc:sldMkLst>
          <pc:docMk/>
          <pc:sldMk cId="154003345" sldId="2076136541"/>
        </pc:sldMkLst>
        <pc:spChg chg="mod">
          <ac:chgData name="Srikanth Gutha" userId="1de4ec77-3cd4-4727-9d7c-74657aaa26f5" providerId="ADAL" clId="{2A66C384-9EC8-45D7-B90D-F2922B9B0060}" dt="2020-07-28T19:39:55.138" v="1" actId="6549"/>
          <ac:spMkLst>
            <pc:docMk/>
            <pc:sldMk cId="154003345" sldId="2076136541"/>
            <ac:spMk id="3" creationId="{397EFE3C-103F-468B-BBA2-1D8E61F543BB}"/>
          </ac:spMkLst>
        </pc:spChg>
      </pc:sldChg>
      <pc:sldChg chg="mod modShow">
        <pc:chgData name="Srikanth Gutha" userId="1de4ec77-3cd4-4727-9d7c-74657aaa26f5" providerId="ADAL" clId="{2A66C384-9EC8-45D7-B90D-F2922B9B0060}" dt="2020-07-28T19:43:07.966" v="5" actId="729"/>
        <pc:sldMkLst>
          <pc:docMk/>
          <pc:sldMk cId="391012951" sldId="2076136542"/>
        </pc:sldMkLst>
      </pc:sldChg>
      <pc:sldChg chg="addSp delSp modSp mod ord modShow modCm">
        <pc:chgData name="Srikanth Gutha" userId="1de4ec77-3cd4-4727-9d7c-74657aaa26f5" providerId="ADAL" clId="{2A66C384-9EC8-45D7-B90D-F2922B9B0060}" dt="2020-07-28T20:34:33.866" v="1020"/>
        <pc:sldMkLst>
          <pc:docMk/>
          <pc:sldMk cId="3124863696" sldId="2076136553"/>
        </pc:sldMkLst>
        <pc:spChg chg="mod">
          <ac:chgData name="Srikanth Gutha" userId="1de4ec77-3cd4-4727-9d7c-74657aaa26f5" providerId="ADAL" clId="{2A66C384-9EC8-45D7-B90D-F2922B9B0060}" dt="2020-07-28T20:01:26.333" v="204" actId="20577"/>
          <ac:spMkLst>
            <pc:docMk/>
            <pc:sldMk cId="3124863696" sldId="2076136553"/>
            <ac:spMk id="2" creationId="{99B1DD74-ECFF-4F6D-A99A-166E150EA5D9}"/>
          </ac:spMkLst>
        </pc:spChg>
        <pc:spChg chg="del">
          <ac:chgData name="Srikanth Gutha" userId="1de4ec77-3cd4-4727-9d7c-74657aaa26f5" providerId="ADAL" clId="{2A66C384-9EC8-45D7-B90D-F2922B9B0060}" dt="2020-07-28T19:52:23.901" v="169" actId="478"/>
          <ac:spMkLst>
            <pc:docMk/>
            <pc:sldMk cId="3124863696" sldId="2076136553"/>
            <ac:spMk id="3" creationId="{397EFE3C-103F-468B-BBA2-1D8E61F543BB}"/>
          </ac:spMkLst>
        </pc:spChg>
        <pc:spChg chg="add del mod">
          <ac:chgData name="Srikanth Gutha" userId="1de4ec77-3cd4-4727-9d7c-74657aaa26f5" providerId="ADAL" clId="{2A66C384-9EC8-45D7-B90D-F2922B9B0060}" dt="2020-07-28T19:56:13.609" v="171" actId="1032"/>
          <ac:spMkLst>
            <pc:docMk/>
            <pc:sldMk cId="3124863696" sldId="2076136553"/>
            <ac:spMk id="5" creationId="{CE69CFCC-0FA5-4AD2-B90E-B5BB6032CDDB}"/>
          </ac:spMkLst>
        </pc:spChg>
        <pc:graphicFrameChg chg="add mod modGraphic">
          <ac:chgData name="Srikanth Gutha" userId="1de4ec77-3cd4-4727-9d7c-74657aaa26f5" providerId="ADAL" clId="{2A66C384-9EC8-45D7-B90D-F2922B9B0060}" dt="2020-07-28T20:34:20.767" v="996"/>
          <ac:graphicFrameMkLst>
            <pc:docMk/>
            <pc:sldMk cId="3124863696" sldId="2076136553"/>
            <ac:graphicFrameMk id="6" creationId="{27B054D2-09F1-4F8B-8A40-7F4279C22174}"/>
          </ac:graphicFrameMkLst>
        </pc:graphicFrameChg>
        <pc:graphicFrameChg chg="add del mod">
          <ac:chgData name="Srikanth Gutha" userId="1de4ec77-3cd4-4727-9d7c-74657aaa26f5" providerId="ADAL" clId="{2A66C384-9EC8-45D7-B90D-F2922B9B0060}" dt="2020-07-28T20:02:36.729" v="220" actId="478"/>
          <ac:graphicFrameMkLst>
            <pc:docMk/>
            <pc:sldMk cId="3124863696" sldId="2076136553"/>
            <ac:graphicFrameMk id="7" creationId="{E00CFCD2-7EB5-4434-8EAC-321F6AF3A770}"/>
          </ac:graphicFrameMkLst>
        </pc:graphicFrameChg>
        <pc:graphicFrameChg chg="add mod">
          <ac:chgData name="Srikanth Gutha" userId="1de4ec77-3cd4-4727-9d7c-74657aaa26f5" providerId="ADAL" clId="{2A66C384-9EC8-45D7-B90D-F2922B9B0060}" dt="2020-07-28T20:34:33.866" v="1020"/>
          <ac:graphicFrameMkLst>
            <pc:docMk/>
            <pc:sldMk cId="3124863696" sldId="2076136553"/>
            <ac:graphicFrameMk id="8" creationId="{CC6ECC2C-E1ED-47C4-B6F7-C6BD859855B2}"/>
          </ac:graphicFrameMkLst>
        </pc:graphicFrameChg>
      </pc:sldChg>
      <pc:sldChg chg="ord">
        <pc:chgData name="Srikanth Gutha" userId="1de4ec77-3cd4-4727-9d7c-74657aaa26f5" providerId="ADAL" clId="{2A66C384-9EC8-45D7-B90D-F2922B9B0060}" dt="2020-07-28T20:19:13.462" v="815"/>
        <pc:sldMkLst>
          <pc:docMk/>
          <pc:sldMk cId="3982248493" sldId="2076136564"/>
        </pc:sldMkLst>
      </pc:sldChg>
      <pc:sldChg chg="ord">
        <pc:chgData name="Srikanth Gutha" userId="1de4ec77-3cd4-4727-9d7c-74657aaa26f5" providerId="ADAL" clId="{2A66C384-9EC8-45D7-B90D-F2922B9B0060}" dt="2020-07-28T20:19:13.462" v="815"/>
        <pc:sldMkLst>
          <pc:docMk/>
          <pc:sldMk cId="1161887290" sldId="2076136565"/>
        </pc:sldMkLst>
      </pc:sldChg>
      <pc:sldChg chg="ord">
        <pc:chgData name="Srikanth Gutha" userId="1de4ec77-3cd4-4727-9d7c-74657aaa26f5" providerId="ADAL" clId="{2A66C384-9EC8-45D7-B90D-F2922B9B0060}" dt="2020-07-28T20:19:59.748" v="817"/>
        <pc:sldMkLst>
          <pc:docMk/>
          <pc:sldMk cId="999691109" sldId="2076136584"/>
        </pc:sldMkLst>
      </pc:sldChg>
      <pc:sldChg chg="mod modShow">
        <pc:chgData name="Srikanth Gutha" userId="1de4ec77-3cd4-4727-9d7c-74657aaa26f5" providerId="ADAL" clId="{2A66C384-9EC8-45D7-B90D-F2922B9B0060}" dt="2020-07-28T20:20:54.362" v="818" actId="729"/>
        <pc:sldMkLst>
          <pc:docMk/>
          <pc:sldMk cId="2192057541" sldId="2076136585"/>
        </pc:sldMkLst>
      </pc:sldChg>
      <pc:sldChg chg="mod modShow">
        <pc:chgData name="Srikanth Gutha" userId="1de4ec77-3cd4-4727-9d7c-74657aaa26f5" providerId="ADAL" clId="{2A66C384-9EC8-45D7-B90D-F2922B9B0060}" dt="2020-07-28T20:39:08.915" v="1328" actId="729"/>
        <pc:sldMkLst>
          <pc:docMk/>
          <pc:sldMk cId="3124030828" sldId="2076136586"/>
        </pc:sldMkLst>
      </pc:sldChg>
      <pc:sldChg chg="modSp mod modShow modNotesTx">
        <pc:chgData name="Srikanth Gutha" userId="1de4ec77-3cd4-4727-9d7c-74657aaa26f5" providerId="ADAL" clId="{2A66C384-9EC8-45D7-B90D-F2922B9B0060}" dt="2020-07-28T20:45:58.873" v="1422" actId="729"/>
        <pc:sldMkLst>
          <pc:docMk/>
          <pc:sldMk cId="3793468756" sldId="2076136587"/>
        </pc:sldMkLst>
        <pc:spChg chg="mod">
          <ac:chgData name="Srikanth Gutha" userId="1de4ec77-3cd4-4727-9d7c-74657aaa26f5" providerId="ADAL" clId="{2A66C384-9EC8-45D7-B90D-F2922B9B0060}" dt="2020-07-28T20:41:16.842" v="1344" actId="6549"/>
          <ac:spMkLst>
            <pc:docMk/>
            <pc:sldMk cId="3793468756" sldId="2076136587"/>
            <ac:spMk id="4" creationId="{B69919CF-E143-4264-878B-1D8BC4822256}"/>
          </ac:spMkLst>
        </pc:spChg>
      </pc:sldChg>
      <pc:sldChg chg="modSp mod modShow">
        <pc:chgData name="Srikanth Gutha" userId="1de4ec77-3cd4-4727-9d7c-74657aaa26f5" providerId="ADAL" clId="{2A66C384-9EC8-45D7-B90D-F2922B9B0060}" dt="2020-07-28T20:46:03.784" v="1423" actId="729"/>
        <pc:sldMkLst>
          <pc:docMk/>
          <pc:sldMk cId="1070907793" sldId="2076136588"/>
        </pc:sldMkLst>
        <pc:graphicFrameChg chg="modGraphic">
          <ac:chgData name="Srikanth Gutha" userId="1de4ec77-3cd4-4727-9d7c-74657aaa26f5" providerId="ADAL" clId="{2A66C384-9EC8-45D7-B90D-F2922B9B0060}" dt="2020-07-28T20:44:26.107" v="1381" actId="14734"/>
          <ac:graphicFrameMkLst>
            <pc:docMk/>
            <pc:sldMk cId="1070907793" sldId="2076136588"/>
            <ac:graphicFrameMk id="4" creationId="{BFC5F8EE-B948-4ED1-8573-B372BBAB9A48}"/>
          </ac:graphicFrameMkLst>
        </pc:graphicFrameChg>
      </pc:sldChg>
      <pc:sldChg chg="mod modShow">
        <pc:chgData name="Srikanth Gutha" userId="1de4ec77-3cd4-4727-9d7c-74657aaa26f5" providerId="ADAL" clId="{2A66C384-9EC8-45D7-B90D-F2922B9B0060}" dt="2020-07-28T21:05:50.309" v="1480" actId="729"/>
        <pc:sldMkLst>
          <pc:docMk/>
          <pc:sldMk cId="2907570554" sldId="2076136589"/>
        </pc:sldMkLst>
      </pc:sldChg>
      <pc:sldChg chg="mod modShow">
        <pc:chgData name="Srikanth Gutha" userId="1de4ec77-3cd4-4727-9d7c-74657aaa26f5" providerId="ADAL" clId="{2A66C384-9EC8-45D7-B90D-F2922B9B0060}" dt="2020-07-28T21:05:52.894" v="1481" actId="729"/>
        <pc:sldMkLst>
          <pc:docMk/>
          <pc:sldMk cId="1889834661" sldId="2076136590"/>
        </pc:sldMkLst>
      </pc:sldChg>
      <pc:sldChg chg="mod modShow">
        <pc:chgData name="Srikanth Gutha" userId="1de4ec77-3cd4-4727-9d7c-74657aaa26f5" providerId="ADAL" clId="{2A66C384-9EC8-45D7-B90D-F2922B9B0060}" dt="2020-07-28T21:06:07.644" v="1482" actId="729"/>
        <pc:sldMkLst>
          <pc:docMk/>
          <pc:sldMk cId="2267899636" sldId="2076136591"/>
        </pc:sldMkLst>
      </pc:sldChg>
      <pc:sldChg chg="modSp mod modNotesTx">
        <pc:chgData name="Srikanth Gutha" userId="1de4ec77-3cd4-4727-9d7c-74657aaa26f5" providerId="ADAL" clId="{2A66C384-9EC8-45D7-B90D-F2922B9B0060}" dt="2020-07-28T21:11:34.428" v="1598" actId="20577"/>
        <pc:sldMkLst>
          <pc:docMk/>
          <pc:sldMk cId="2347615378" sldId="2076136592"/>
        </pc:sldMkLst>
        <pc:spChg chg="mod">
          <ac:chgData name="Srikanth Gutha" userId="1de4ec77-3cd4-4727-9d7c-74657aaa26f5" providerId="ADAL" clId="{2A66C384-9EC8-45D7-B90D-F2922B9B0060}" dt="2020-07-28T21:11:34.428" v="1598" actId="20577"/>
          <ac:spMkLst>
            <pc:docMk/>
            <pc:sldMk cId="2347615378" sldId="2076136592"/>
            <ac:spMk id="3" creationId="{E7941DFE-97E5-4A7E-8716-02476C1D8876}"/>
          </ac:spMkLst>
        </pc:spChg>
      </pc:sldChg>
      <pc:sldChg chg="mod modShow">
        <pc:chgData name="Srikanth Gutha" userId="1de4ec77-3cd4-4727-9d7c-74657aaa26f5" providerId="ADAL" clId="{2A66C384-9EC8-45D7-B90D-F2922B9B0060}" dt="2020-07-28T21:18:05.258" v="1765" actId="729"/>
        <pc:sldMkLst>
          <pc:docMk/>
          <pc:sldMk cId="2792761590" sldId="2076136593"/>
        </pc:sldMkLst>
      </pc:sldChg>
      <pc:sldChg chg="mod modShow">
        <pc:chgData name="Srikanth Gutha" userId="1de4ec77-3cd4-4727-9d7c-74657aaa26f5" providerId="ADAL" clId="{2A66C384-9EC8-45D7-B90D-F2922B9B0060}" dt="2020-07-28T21:18:05.258" v="1765" actId="729"/>
        <pc:sldMkLst>
          <pc:docMk/>
          <pc:sldMk cId="1800952542" sldId="2076136594"/>
        </pc:sldMkLst>
      </pc:sldChg>
      <pc:sldChg chg="mod modShow">
        <pc:chgData name="Srikanth Gutha" userId="1de4ec77-3cd4-4727-9d7c-74657aaa26f5" providerId="ADAL" clId="{2A66C384-9EC8-45D7-B90D-F2922B9B0060}" dt="2020-07-28T21:18:05.258" v="1765" actId="729"/>
        <pc:sldMkLst>
          <pc:docMk/>
          <pc:sldMk cId="1451217846" sldId="2076136595"/>
        </pc:sldMkLst>
      </pc:sldChg>
      <pc:sldChg chg="mod modShow">
        <pc:chgData name="Srikanth Gutha" userId="1de4ec77-3cd4-4727-9d7c-74657aaa26f5" providerId="ADAL" clId="{2A66C384-9EC8-45D7-B90D-F2922B9B0060}" dt="2020-07-28T21:18:13.694" v="1766" actId="729"/>
        <pc:sldMkLst>
          <pc:docMk/>
          <pc:sldMk cId="2896955270" sldId="2076136596"/>
        </pc:sldMkLst>
      </pc:sldChg>
      <pc:sldChg chg="mod modShow">
        <pc:chgData name="Srikanth Gutha" userId="1de4ec77-3cd4-4727-9d7c-74657aaa26f5" providerId="ADAL" clId="{2A66C384-9EC8-45D7-B90D-F2922B9B0060}" dt="2020-07-28T21:23:53.841" v="1880" actId="729"/>
        <pc:sldMkLst>
          <pc:docMk/>
          <pc:sldMk cId="2059380165" sldId="2076136597"/>
        </pc:sldMkLst>
      </pc:sldChg>
      <pc:sldChg chg="mod modShow">
        <pc:chgData name="Srikanth Gutha" userId="1de4ec77-3cd4-4727-9d7c-74657aaa26f5" providerId="ADAL" clId="{2A66C384-9EC8-45D7-B90D-F2922B9B0060}" dt="2020-07-28T21:34:21.137" v="1949" actId="729"/>
        <pc:sldMkLst>
          <pc:docMk/>
          <pc:sldMk cId="3967002372" sldId="2076136598"/>
        </pc:sldMkLst>
      </pc:sldChg>
      <pc:sldChg chg="modSp mod">
        <pc:chgData name="Srikanth Gutha" userId="1de4ec77-3cd4-4727-9d7c-74657aaa26f5" providerId="ADAL" clId="{2A66C384-9EC8-45D7-B90D-F2922B9B0060}" dt="2020-07-28T20:10:17.173" v="504" actId="113"/>
        <pc:sldMkLst>
          <pc:docMk/>
          <pc:sldMk cId="1608566440" sldId="2076136609"/>
        </pc:sldMkLst>
        <pc:spChg chg="mod">
          <ac:chgData name="Srikanth Gutha" userId="1de4ec77-3cd4-4727-9d7c-74657aaa26f5" providerId="ADAL" clId="{2A66C384-9EC8-45D7-B90D-F2922B9B0060}" dt="2020-07-28T20:10:17.173" v="504" actId="113"/>
          <ac:spMkLst>
            <pc:docMk/>
            <pc:sldMk cId="1608566440" sldId="2076136609"/>
            <ac:spMk id="2" creationId="{55FF1A12-3A4D-492C-A7A2-A5C9C3D9D364}"/>
          </ac:spMkLst>
        </pc:spChg>
      </pc:sldChg>
      <pc:sldChg chg="modSp mod">
        <pc:chgData name="Srikanth Gutha" userId="1de4ec77-3cd4-4727-9d7c-74657aaa26f5" providerId="ADAL" clId="{2A66C384-9EC8-45D7-B90D-F2922B9B0060}" dt="2020-07-28T20:10:25.609" v="505"/>
        <pc:sldMkLst>
          <pc:docMk/>
          <pc:sldMk cId="4058164179" sldId="2076136610"/>
        </pc:sldMkLst>
        <pc:spChg chg="mod">
          <ac:chgData name="Srikanth Gutha" userId="1de4ec77-3cd4-4727-9d7c-74657aaa26f5" providerId="ADAL" clId="{2A66C384-9EC8-45D7-B90D-F2922B9B0060}" dt="2020-07-28T20:10:25.609" v="505"/>
          <ac:spMkLst>
            <pc:docMk/>
            <pc:sldMk cId="4058164179" sldId="2076136610"/>
            <ac:spMk id="2" creationId="{55FF1A12-3A4D-492C-A7A2-A5C9C3D9D364}"/>
          </ac:spMkLst>
        </pc:spChg>
      </pc:sldChg>
      <pc:sldChg chg="modSp mod">
        <pc:chgData name="Srikanth Gutha" userId="1de4ec77-3cd4-4727-9d7c-74657aaa26f5" providerId="ADAL" clId="{2A66C384-9EC8-45D7-B90D-F2922B9B0060}" dt="2020-07-28T20:10:38.011" v="507" actId="1076"/>
        <pc:sldMkLst>
          <pc:docMk/>
          <pc:sldMk cId="2804172455" sldId="2076136611"/>
        </pc:sldMkLst>
        <pc:spChg chg="mod">
          <ac:chgData name="Srikanth Gutha" userId="1de4ec77-3cd4-4727-9d7c-74657aaa26f5" providerId="ADAL" clId="{2A66C384-9EC8-45D7-B90D-F2922B9B0060}" dt="2020-07-28T20:10:38.011" v="507" actId="1076"/>
          <ac:spMkLst>
            <pc:docMk/>
            <pc:sldMk cId="2804172455" sldId="2076136611"/>
            <ac:spMk id="2" creationId="{55FF1A12-3A4D-492C-A7A2-A5C9C3D9D364}"/>
          </ac:spMkLst>
        </pc:spChg>
      </pc:sldChg>
      <pc:sldChg chg="modSp mod">
        <pc:chgData name="Srikanth Gutha" userId="1de4ec77-3cd4-4727-9d7c-74657aaa26f5" providerId="ADAL" clId="{2A66C384-9EC8-45D7-B90D-F2922B9B0060}" dt="2020-07-28T20:10:42.257" v="508"/>
        <pc:sldMkLst>
          <pc:docMk/>
          <pc:sldMk cId="3281248683" sldId="2076136612"/>
        </pc:sldMkLst>
        <pc:spChg chg="mod">
          <ac:chgData name="Srikanth Gutha" userId="1de4ec77-3cd4-4727-9d7c-74657aaa26f5" providerId="ADAL" clId="{2A66C384-9EC8-45D7-B90D-F2922B9B0060}" dt="2020-07-28T20:10:42.257" v="508"/>
          <ac:spMkLst>
            <pc:docMk/>
            <pc:sldMk cId="3281248683" sldId="2076136612"/>
            <ac:spMk id="2" creationId="{55FF1A12-3A4D-492C-A7A2-A5C9C3D9D364}"/>
          </ac:spMkLst>
        </pc:spChg>
      </pc:sldChg>
      <pc:sldChg chg="modSp mod">
        <pc:chgData name="Srikanth Gutha" userId="1de4ec77-3cd4-4727-9d7c-74657aaa26f5" providerId="ADAL" clId="{2A66C384-9EC8-45D7-B90D-F2922B9B0060}" dt="2020-07-28T20:10:47.013" v="509"/>
        <pc:sldMkLst>
          <pc:docMk/>
          <pc:sldMk cId="4253294290" sldId="2076136613"/>
        </pc:sldMkLst>
        <pc:spChg chg="mod">
          <ac:chgData name="Srikanth Gutha" userId="1de4ec77-3cd4-4727-9d7c-74657aaa26f5" providerId="ADAL" clId="{2A66C384-9EC8-45D7-B90D-F2922B9B0060}" dt="2020-07-28T20:10:47.013" v="509"/>
          <ac:spMkLst>
            <pc:docMk/>
            <pc:sldMk cId="4253294290" sldId="2076136613"/>
            <ac:spMk id="2" creationId="{55FF1A12-3A4D-492C-A7A2-A5C9C3D9D364}"/>
          </ac:spMkLst>
        </pc:spChg>
      </pc:sldChg>
      <pc:sldChg chg="add mod modShow">
        <pc:chgData name="Srikanth Gutha" userId="1de4ec77-3cd4-4727-9d7c-74657aaa26f5" providerId="ADAL" clId="{2A66C384-9EC8-45D7-B90D-F2922B9B0060}" dt="2020-07-28T20:20:56.927" v="819" actId="729"/>
        <pc:sldMkLst>
          <pc:docMk/>
          <pc:sldMk cId="1435692506" sldId="2076136614"/>
        </pc:sldMkLst>
      </pc:sldChg>
      <pc:sldChg chg="modSp add del mod ord">
        <pc:chgData name="Srikanth Gutha" userId="1de4ec77-3cd4-4727-9d7c-74657aaa26f5" providerId="ADAL" clId="{2A66C384-9EC8-45D7-B90D-F2922B9B0060}" dt="2020-07-28T19:43:33.335" v="26" actId="47"/>
        <pc:sldMkLst>
          <pc:docMk/>
          <pc:sldMk cId="4285864168" sldId="2076136615"/>
        </pc:sldMkLst>
        <pc:spChg chg="mod">
          <ac:chgData name="Srikanth Gutha" userId="1de4ec77-3cd4-4727-9d7c-74657aaa26f5" providerId="ADAL" clId="{2A66C384-9EC8-45D7-B90D-F2922B9B0060}" dt="2020-07-28T19:43:15.234" v="24" actId="20577"/>
          <ac:spMkLst>
            <pc:docMk/>
            <pc:sldMk cId="4285864168" sldId="2076136615"/>
            <ac:spMk id="2" creationId="{99B1DD74-ECFF-4F6D-A99A-166E150EA5D9}"/>
          </ac:spMkLst>
        </pc:spChg>
      </pc:sldChg>
      <pc:sldChg chg="modSp add mod ord">
        <pc:chgData name="Srikanth Gutha" userId="1de4ec77-3cd4-4727-9d7c-74657aaa26f5" providerId="ADAL" clId="{2A66C384-9EC8-45D7-B90D-F2922B9B0060}" dt="2020-07-28T20:18:25.667" v="813"/>
        <pc:sldMkLst>
          <pc:docMk/>
          <pc:sldMk cId="19892092" sldId="2076136616"/>
        </pc:sldMkLst>
        <pc:spChg chg="mod">
          <ac:chgData name="Srikanth Gutha" userId="1de4ec77-3cd4-4727-9d7c-74657aaa26f5" providerId="ADAL" clId="{2A66C384-9EC8-45D7-B90D-F2922B9B0060}" dt="2020-07-28T20:16:51.857" v="780" actId="20577"/>
          <ac:spMkLst>
            <pc:docMk/>
            <pc:sldMk cId="19892092" sldId="2076136616"/>
            <ac:spMk id="2" creationId="{55FF1A12-3A4D-492C-A7A2-A5C9C3D9D364}"/>
          </ac:spMkLst>
        </pc:spChg>
        <pc:graphicFrameChg chg="mod modGraphic">
          <ac:chgData name="Srikanth Gutha" userId="1de4ec77-3cd4-4727-9d7c-74657aaa26f5" providerId="ADAL" clId="{2A66C384-9EC8-45D7-B90D-F2922B9B0060}" dt="2020-07-28T20:17:59.504" v="811" actId="108"/>
          <ac:graphicFrameMkLst>
            <pc:docMk/>
            <pc:sldMk cId="19892092" sldId="2076136616"/>
            <ac:graphicFrameMk id="15" creationId="{7B8DEB6A-1C5A-47E8-B51E-FBA1BC591DDE}"/>
          </ac:graphicFrameMkLst>
        </pc:graphicFrameChg>
      </pc:sldChg>
      <pc:sldChg chg="add del">
        <pc:chgData name="Srikanth Gutha" userId="1de4ec77-3cd4-4727-9d7c-74657aaa26f5" providerId="ADAL" clId="{2A66C384-9EC8-45D7-B90D-F2922B9B0060}" dt="2020-07-28T20:05:16.647" v="340" actId="47"/>
        <pc:sldMkLst>
          <pc:docMk/>
          <pc:sldMk cId="2603542776" sldId="2076136617"/>
        </pc:sldMkLst>
      </pc:sldChg>
      <pc:sldChg chg="addSp delSp modSp add mod ord modNotesTx">
        <pc:chgData name="Srikanth Gutha" userId="1de4ec77-3cd4-4727-9d7c-74657aaa26f5" providerId="ADAL" clId="{2A66C384-9EC8-45D7-B90D-F2922B9B0060}" dt="2020-07-28T20:30:07.207" v="984" actId="6549"/>
        <pc:sldMkLst>
          <pc:docMk/>
          <pc:sldMk cId="2568000684" sldId="2076136618"/>
        </pc:sldMkLst>
        <pc:spChg chg="mod">
          <ac:chgData name="Srikanth Gutha" userId="1de4ec77-3cd4-4727-9d7c-74657aaa26f5" providerId="ADAL" clId="{2A66C384-9EC8-45D7-B90D-F2922B9B0060}" dt="2020-07-28T20:25:20.454" v="830" actId="20577"/>
          <ac:spMkLst>
            <pc:docMk/>
            <pc:sldMk cId="2568000684" sldId="2076136618"/>
            <ac:spMk id="2" creationId="{91C47C82-7B3D-4C20-9A87-FD69531E87BE}"/>
          </ac:spMkLst>
        </pc:spChg>
        <pc:spChg chg="add mod">
          <ac:chgData name="Srikanth Gutha" userId="1de4ec77-3cd4-4727-9d7c-74657aaa26f5" providerId="ADAL" clId="{2A66C384-9EC8-45D7-B90D-F2922B9B0060}" dt="2020-07-28T20:30:01.918" v="983" actId="20577"/>
          <ac:spMkLst>
            <pc:docMk/>
            <pc:sldMk cId="2568000684" sldId="2076136618"/>
            <ac:spMk id="6" creationId="{9E05F9E6-F341-4E2D-84FE-211A4A051DBC}"/>
          </ac:spMkLst>
        </pc:spChg>
        <pc:spChg chg="mod">
          <ac:chgData name="Srikanth Gutha" userId="1de4ec77-3cd4-4727-9d7c-74657aaa26f5" providerId="ADAL" clId="{2A66C384-9EC8-45D7-B90D-F2922B9B0060}" dt="2020-07-28T20:29:46.988" v="933" actId="20577"/>
          <ac:spMkLst>
            <pc:docMk/>
            <pc:sldMk cId="2568000684" sldId="2076136618"/>
            <ac:spMk id="9" creationId="{AF53AE5A-2924-4662-A50A-0F36EE70CB64}"/>
          </ac:spMkLst>
        </pc:spChg>
        <pc:spChg chg="del mod">
          <ac:chgData name="Srikanth Gutha" userId="1de4ec77-3cd4-4727-9d7c-74657aaa26f5" providerId="ADAL" clId="{2A66C384-9EC8-45D7-B90D-F2922B9B0060}" dt="2020-07-28T20:26:40.661" v="886" actId="478"/>
          <ac:spMkLst>
            <pc:docMk/>
            <pc:sldMk cId="2568000684" sldId="2076136618"/>
            <ac:spMk id="10" creationId="{69905789-75EB-4E63-BB7B-1493B2D8BD21}"/>
          </ac:spMkLst>
        </pc:spChg>
        <pc:picChg chg="add del mod">
          <ac:chgData name="Srikanth Gutha" userId="1de4ec77-3cd4-4727-9d7c-74657aaa26f5" providerId="ADAL" clId="{2A66C384-9EC8-45D7-B90D-F2922B9B0060}" dt="2020-07-28T20:27:49.699" v="898" actId="478"/>
          <ac:picMkLst>
            <pc:docMk/>
            <pc:sldMk cId="2568000684" sldId="2076136618"/>
            <ac:picMk id="5" creationId="{F17029E8-7E7B-47DF-BBF7-FE21B56F6987}"/>
          </ac:picMkLst>
        </pc:picChg>
        <pc:picChg chg="add del mod">
          <ac:chgData name="Srikanth Gutha" userId="1de4ec77-3cd4-4727-9d7c-74657aaa26f5" providerId="ADAL" clId="{2A66C384-9EC8-45D7-B90D-F2922B9B0060}" dt="2020-07-28T20:28:55.259" v="903" actId="478"/>
          <ac:picMkLst>
            <pc:docMk/>
            <pc:sldMk cId="2568000684" sldId="2076136618"/>
            <ac:picMk id="12" creationId="{8D17C079-8253-4164-94D4-ACC00C0F09A5}"/>
          </ac:picMkLst>
        </pc:picChg>
        <pc:picChg chg="add mod">
          <ac:chgData name="Srikanth Gutha" userId="1de4ec77-3cd4-4727-9d7c-74657aaa26f5" providerId="ADAL" clId="{2A66C384-9EC8-45D7-B90D-F2922B9B0060}" dt="2020-07-28T20:28:00.357" v="902" actId="1076"/>
          <ac:picMkLst>
            <pc:docMk/>
            <pc:sldMk cId="2568000684" sldId="2076136618"/>
            <ac:picMk id="14" creationId="{937D698F-DB38-42E8-B092-3483643B4262}"/>
          </ac:picMkLst>
        </pc:picChg>
        <pc:picChg chg="add mod">
          <ac:chgData name="Srikanth Gutha" userId="1de4ec77-3cd4-4727-9d7c-74657aaa26f5" providerId="ADAL" clId="{2A66C384-9EC8-45D7-B90D-F2922B9B0060}" dt="2020-07-28T20:29:07.206" v="907" actId="1076"/>
          <ac:picMkLst>
            <pc:docMk/>
            <pc:sldMk cId="2568000684" sldId="2076136618"/>
            <ac:picMk id="16" creationId="{BE035AA7-EE0F-4A7A-A673-58678ADF934C}"/>
          </ac:picMkLst>
        </pc:picChg>
        <pc:picChg chg="del">
          <ac:chgData name="Srikanth Gutha" userId="1de4ec77-3cd4-4727-9d7c-74657aaa26f5" providerId="ADAL" clId="{2A66C384-9EC8-45D7-B90D-F2922B9B0060}" dt="2020-07-28T20:26:49.661" v="889" actId="478"/>
          <ac:picMkLst>
            <pc:docMk/>
            <pc:sldMk cId="2568000684" sldId="2076136618"/>
            <ac:picMk id="24" creationId="{8E0BC28D-71DE-4D07-A4B4-87AF72F382E4}"/>
          </ac:picMkLst>
        </pc:picChg>
        <pc:picChg chg="del">
          <ac:chgData name="Srikanth Gutha" userId="1de4ec77-3cd4-4727-9d7c-74657aaa26f5" providerId="ADAL" clId="{2A66C384-9EC8-45D7-B90D-F2922B9B0060}" dt="2020-07-28T20:26:02.741" v="874" actId="478"/>
          <ac:picMkLst>
            <pc:docMk/>
            <pc:sldMk cId="2568000684" sldId="2076136618"/>
            <ac:picMk id="28" creationId="{791CDDB4-72BE-49C7-9F1D-CE1595FF406C}"/>
          </ac:picMkLst>
        </pc:picChg>
      </pc:sldChg>
      <pc:sldChg chg="addSp delSp modSp add mod">
        <pc:chgData name="Srikanth Gutha" userId="1de4ec77-3cd4-4727-9d7c-74657aaa26f5" providerId="ADAL" clId="{2A66C384-9EC8-45D7-B90D-F2922B9B0060}" dt="2020-07-28T20:38:55.619" v="1327" actId="20577"/>
        <pc:sldMkLst>
          <pc:docMk/>
          <pc:sldMk cId="1648287536" sldId="2076136619"/>
        </pc:sldMkLst>
        <pc:spChg chg="mod">
          <ac:chgData name="Srikanth Gutha" userId="1de4ec77-3cd4-4727-9d7c-74657aaa26f5" providerId="ADAL" clId="{2A66C384-9EC8-45D7-B90D-F2922B9B0060}" dt="2020-07-28T20:30:52.625" v="995" actId="20577"/>
          <ac:spMkLst>
            <pc:docMk/>
            <pc:sldMk cId="1648287536" sldId="2076136619"/>
            <ac:spMk id="2" creationId="{91C47C82-7B3D-4C20-9A87-FD69531E87BE}"/>
          </ac:spMkLst>
        </pc:spChg>
        <pc:spChg chg="del">
          <ac:chgData name="Srikanth Gutha" userId="1de4ec77-3cd4-4727-9d7c-74657aaa26f5" providerId="ADAL" clId="{2A66C384-9EC8-45D7-B90D-F2922B9B0060}" dt="2020-07-28T20:35:21.632" v="1023" actId="478"/>
          <ac:spMkLst>
            <pc:docMk/>
            <pc:sldMk cId="1648287536" sldId="2076136619"/>
            <ac:spMk id="6" creationId="{9E05F9E6-F341-4E2D-84FE-211A4A051DBC}"/>
          </ac:spMkLst>
        </pc:spChg>
        <pc:spChg chg="del">
          <ac:chgData name="Srikanth Gutha" userId="1de4ec77-3cd4-4727-9d7c-74657aaa26f5" providerId="ADAL" clId="{2A66C384-9EC8-45D7-B90D-F2922B9B0060}" dt="2020-07-28T20:35:18.566" v="1021" actId="478"/>
          <ac:spMkLst>
            <pc:docMk/>
            <pc:sldMk cId="1648287536" sldId="2076136619"/>
            <ac:spMk id="9" creationId="{AF53AE5A-2924-4662-A50A-0F36EE70CB64}"/>
          </ac:spMkLst>
        </pc:spChg>
        <pc:spChg chg="add mod">
          <ac:chgData name="Srikanth Gutha" userId="1de4ec77-3cd4-4727-9d7c-74657aaa26f5" providerId="ADAL" clId="{2A66C384-9EC8-45D7-B90D-F2922B9B0060}" dt="2020-07-28T20:38:55.619" v="1327" actId="20577"/>
          <ac:spMkLst>
            <pc:docMk/>
            <pc:sldMk cId="1648287536" sldId="2076136619"/>
            <ac:spMk id="13" creationId="{4070F73E-383A-468A-A967-AB7CA4D5FFD2}"/>
          </ac:spMkLst>
        </pc:spChg>
        <pc:picChg chg="add mod">
          <ac:chgData name="Srikanth Gutha" userId="1de4ec77-3cd4-4727-9d7c-74657aaa26f5" providerId="ADAL" clId="{2A66C384-9EC8-45D7-B90D-F2922B9B0060}" dt="2020-07-28T20:35:34.117" v="1028" actId="1076"/>
          <ac:picMkLst>
            <pc:docMk/>
            <pc:sldMk cId="1648287536" sldId="2076136619"/>
            <ac:picMk id="5" creationId="{FDBB218B-D216-40B7-8F2C-A3E7183360A3}"/>
          </ac:picMkLst>
        </pc:picChg>
        <pc:picChg chg="add del mod">
          <ac:chgData name="Srikanth Gutha" userId="1de4ec77-3cd4-4727-9d7c-74657aaa26f5" providerId="ADAL" clId="{2A66C384-9EC8-45D7-B90D-F2922B9B0060}" dt="2020-07-28T20:36:56.108" v="1035" actId="478"/>
          <ac:picMkLst>
            <pc:docMk/>
            <pc:sldMk cId="1648287536" sldId="2076136619"/>
            <ac:picMk id="10" creationId="{47B7D834-B273-49B0-A2A6-530D3770A5DB}"/>
          </ac:picMkLst>
        </pc:picChg>
        <pc:picChg chg="add mod">
          <ac:chgData name="Srikanth Gutha" userId="1de4ec77-3cd4-4727-9d7c-74657aaa26f5" providerId="ADAL" clId="{2A66C384-9EC8-45D7-B90D-F2922B9B0060}" dt="2020-07-28T20:37:12.348" v="1039" actId="1076"/>
          <ac:picMkLst>
            <pc:docMk/>
            <pc:sldMk cId="1648287536" sldId="2076136619"/>
            <ac:picMk id="12" creationId="{E1B5488C-5464-462E-8574-94B1738B945D}"/>
          </ac:picMkLst>
        </pc:picChg>
        <pc:picChg chg="del">
          <ac:chgData name="Srikanth Gutha" userId="1de4ec77-3cd4-4727-9d7c-74657aaa26f5" providerId="ADAL" clId="{2A66C384-9EC8-45D7-B90D-F2922B9B0060}" dt="2020-07-28T20:35:20.149" v="1022" actId="478"/>
          <ac:picMkLst>
            <pc:docMk/>
            <pc:sldMk cId="1648287536" sldId="2076136619"/>
            <ac:picMk id="14" creationId="{937D698F-DB38-42E8-B092-3483643B4262}"/>
          </ac:picMkLst>
        </pc:picChg>
        <pc:picChg chg="del">
          <ac:chgData name="Srikanth Gutha" userId="1de4ec77-3cd4-4727-9d7c-74657aaa26f5" providerId="ADAL" clId="{2A66C384-9EC8-45D7-B90D-F2922B9B0060}" dt="2020-07-28T20:35:23.222" v="1024" actId="478"/>
          <ac:picMkLst>
            <pc:docMk/>
            <pc:sldMk cId="1648287536" sldId="2076136619"/>
            <ac:picMk id="16" creationId="{BE035AA7-EE0F-4A7A-A673-58678ADF934C}"/>
          </ac:picMkLst>
        </pc:picChg>
      </pc:sldChg>
      <pc:sldChg chg="addSp delSp modSp add mod ord modNotesTx">
        <pc:chgData name="Srikanth Gutha" userId="1de4ec77-3cd4-4727-9d7c-74657aaa26f5" providerId="ADAL" clId="{2A66C384-9EC8-45D7-B90D-F2922B9B0060}" dt="2020-07-28T20:47:36.541" v="1425"/>
        <pc:sldMkLst>
          <pc:docMk/>
          <pc:sldMk cId="799437231" sldId="2076136620"/>
        </pc:sldMkLst>
        <pc:spChg chg="mod">
          <ac:chgData name="Srikanth Gutha" userId="1de4ec77-3cd4-4727-9d7c-74657aaa26f5" providerId="ADAL" clId="{2A66C384-9EC8-45D7-B90D-F2922B9B0060}" dt="2020-07-28T20:39:47.411" v="1338" actId="20577"/>
          <ac:spMkLst>
            <pc:docMk/>
            <pc:sldMk cId="799437231" sldId="2076136620"/>
            <ac:spMk id="2" creationId="{91C47C82-7B3D-4C20-9A87-FD69531E87BE}"/>
          </ac:spMkLst>
        </pc:spChg>
        <pc:spChg chg="del">
          <ac:chgData name="Srikanth Gutha" userId="1de4ec77-3cd4-4727-9d7c-74657aaa26f5" providerId="ADAL" clId="{2A66C384-9EC8-45D7-B90D-F2922B9B0060}" dt="2020-07-28T20:42:50.553" v="1375" actId="478"/>
          <ac:spMkLst>
            <pc:docMk/>
            <pc:sldMk cId="799437231" sldId="2076136620"/>
            <ac:spMk id="13" creationId="{4070F73E-383A-468A-A967-AB7CA4D5FFD2}"/>
          </ac:spMkLst>
        </pc:spChg>
        <pc:spChg chg="add mod">
          <ac:chgData name="Srikanth Gutha" userId="1de4ec77-3cd4-4727-9d7c-74657aaa26f5" providerId="ADAL" clId="{2A66C384-9EC8-45D7-B90D-F2922B9B0060}" dt="2020-07-28T20:45:28.290" v="1417" actId="1076"/>
          <ac:spMkLst>
            <pc:docMk/>
            <pc:sldMk cId="799437231" sldId="2076136620"/>
            <ac:spMk id="14" creationId="{CA4B1D11-C740-4A1A-B1F1-157FBDB026BC}"/>
          </ac:spMkLst>
        </pc:spChg>
        <pc:picChg chg="del">
          <ac:chgData name="Srikanth Gutha" userId="1de4ec77-3cd4-4727-9d7c-74657aaa26f5" providerId="ADAL" clId="{2A66C384-9EC8-45D7-B90D-F2922B9B0060}" dt="2020-07-28T20:42:40.073" v="1370" actId="478"/>
          <ac:picMkLst>
            <pc:docMk/>
            <pc:sldMk cId="799437231" sldId="2076136620"/>
            <ac:picMk id="5" creationId="{FDBB218B-D216-40B7-8F2C-A3E7183360A3}"/>
          </ac:picMkLst>
        </pc:picChg>
        <pc:picChg chg="add mod">
          <ac:chgData name="Srikanth Gutha" userId="1de4ec77-3cd4-4727-9d7c-74657aaa26f5" providerId="ADAL" clId="{2A66C384-9EC8-45D7-B90D-F2922B9B0060}" dt="2020-07-28T20:42:45.890" v="1373" actId="14100"/>
          <ac:picMkLst>
            <pc:docMk/>
            <pc:sldMk cId="799437231" sldId="2076136620"/>
            <ac:picMk id="6" creationId="{CBA9E0A0-A7D6-4AE5-8FF1-C2E61CB21B12}"/>
          </ac:picMkLst>
        </pc:picChg>
        <pc:picChg chg="add mod">
          <ac:chgData name="Srikanth Gutha" userId="1de4ec77-3cd4-4727-9d7c-74657aaa26f5" providerId="ADAL" clId="{2A66C384-9EC8-45D7-B90D-F2922B9B0060}" dt="2020-07-28T20:44:17.962" v="1379" actId="1076"/>
          <ac:picMkLst>
            <pc:docMk/>
            <pc:sldMk cId="799437231" sldId="2076136620"/>
            <ac:picMk id="9" creationId="{FFFF1709-0D7A-4932-A1C5-E1870DBC3D48}"/>
          </ac:picMkLst>
        </pc:picChg>
        <pc:picChg chg="add mod">
          <ac:chgData name="Srikanth Gutha" userId="1de4ec77-3cd4-4727-9d7c-74657aaa26f5" providerId="ADAL" clId="{2A66C384-9EC8-45D7-B90D-F2922B9B0060}" dt="2020-07-28T20:45:43.096" v="1420" actId="1076"/>
          <ac:picMkLst>
            <pc:docMk/>
            <pc:sldMk cId="799437231" sldId="2076136620"/>
            <ac:picMk id="11" creationId="{A6C84C1B-E1AB-47AB-99E3-FA92AD883F1B}"/>
          </ac:picMkLst>
        </pc:picChg>
        <pc:picChg chg="del">
          <ac:chgData name="Srikanth Gutha" userId="1de4ec77-3cd4-4727-9d7c-74657aaa26f5" providerId="ADAL" clId="{2A66C384-9EC8-45D7-B90D-F2922B9B0060}" dt="2020-07-28T20:42:48.324" v="1374" actId="478"/>
          <ac:picMkLst>
            <pc:docMk/>
            <pc:sldMk cId="799437231" sldId="2076136620"/>
            <ac:picMk id="12" creationId="{E1B5488C-5464-462E-8574-94B1738B945D}"/>
          </ac:picMkLst>
        </pc:picChg>
        <pc:cxnChg chg="add">
          <ac:chgData name="Srikanth Gutha" userId="1de4ec77-3cd4-4727-9d7c-74657aaa26f5" providerId="ADAL" clId="{2A66C384-9EC8-45D7-B90D-F2922B9B0060}" dt="2020-07-28T20:45:50.085" v="1421" actId="11529"/>
          <ac:cxnSpMkLst>
            <pc:docMk/>
            <pc:sldMk cId="799437231" sldId="2076136620"/>
            <ac:cxnSpMk id="17" creationId="{18722C34-BA30-423D-8507-B7B09AAF417A}"/>
          </ac:cxnSpMkLst>
        </pc:cxnChg>
      </pc:sldChg>
      <pc:sldChg chg="addSp delSp modSp add mod ord modNotesTx">
        <pc:chgData name="Srikanth Gutha" userId="1de4ec77-3cd4-4727-9d7c-74657aaa26f5" providerId="ADAL" clId="{2A66C384-9EC8-45D7-B90D-F2922B9B0060}" dt="2020-07-28T21:05:42.458" v="1479" actId="1076"/>
        <pc:sldMkLst>
          <pc:docMk/>
          <pc:sldMk cId="2244114374" sldId="2076136621"/>
        </pc:sldMkLst>
        <pc:spChg chg="mod">
          <ac:chgData name="Srikanth Gutha" userId="1de4ec77-3cd4-4727-9d7c-74657aaa26f5" providerId="ADAL" clId="{2A66C384-9EC8-45D7-B90D-F2922B9B0060}" dt="2020-07-28T20:58:17.959" v="1440" actId="20577"/>
          <ac:spMkLst>
            <pc:docMk/>
            <pc:sldMk cId="2244114374" sldId="2076136621"/>
            <ac:spMk id="2" creationId="{91C47C82-7B3D-4C20-9A87-FD69531E87BE}"/>
          </ac:spMkLst>
        </pc:spChg>
        <pc:spChg chg="del">
          <ac:chgData name="Srikanth Gutha" userId="1de4ec77-3cd4-4727-9d7c-74657aaa26f5" providerId="ADAL" clId="{2A66C384-9EC8-45D7-B90D-F2922B9B0060}" dt="2020-07-28T21:02:18.061" v="1452" actId="478"/>
          <ac:spMkLst>
            <pc:docMk/>
            <pc:sldMk cId="2244114374" sldId="2076136621"/>
            <ac:spMk id="13" creationId="{4070F73E-383A-468A-A967-AB7CA4D5FFD2}"/>
          </ac:spMkLst>
        </pc:spChg>
        <pc:spChg chg="add del">
          <ac:chgData name="Srikanth Gutha" userId="1de4ec77-3cd4-4727-9d7c-74657aaa26f5" providerId="ADAL" clId="{2A66C384-9EC8-45D7-B90D-F2922B9B0060}" dt="2020-07-28T21:05:15.170" v="1469" actId="478"/>
          <ac:spMkLst>
            <pc:docMk/>
            <pc:sldMk cId="2244114374" sldId="2076136621"/>
            <ac:spMk id="14" creationId="{6B6C1829-31AC-4703-8027-E6F8DD33BEF3}"/>
          </ac:spMkLst>
        </pc:spChg>
        <pc:spChg chg="add mod">
          <ac:chgData name="Srikanth Gutha" userId="1de4ec77-3cd4-4727-9d7c-74657aaa26f5" providerId="ADAL" clId="{2A66C384-9EC8-45D7-B90D-F2922B9B0060}" dt="2020-07-28T21:05:26.834" v="1471" actId="14100"/>
          <ac:spMkLst>
            <pc:docMk/>
            <pc:sldMk cId="2244114374" sldId="2076136621"/>
            <ac:spMk id="15" creationId="{D66010AE-94BF-46CD-BF13-43EC25C127F0}"/>
          </ac:spMkLst>
        </pc:spChg>
        <pc:spChg chg="add mod">
          <ac:chgData name="Srikanth Gutha" userId="1de4ec77-3cd4-4727-9d7c-74657aaa26f5" providerId="ADAL" clId="{2A66C384-9EC8-45D7-B90D-F2922B9B0060}" dt="2020-07-28T21:05:42.458" v="1479" actId="1076"/>
          <ac:spMkLst>
            <pc:docMk/>
            <pc:sldMk cId="2244114374" sldId="2076136621"/>
            <ac:spMk id="16" creationId="{EDC5EE75-A089-437B-A3A2-33AEE86B33F7}"/>
          </ac:spMkLst>
        </pc:spChg>
        <pc:picChg chg="del">
          <ac:chgData name="Srikanth Gutha" userId="1de4ec77-3cd4-4727-9d7c-74657aaa26f5" providerId="ADAL" clId="{2A66C384-9EC8-45D7-B90D-F2922B9B0060}" dt="2020-07-28T21:03:05.124" v="1457" actId="478"/>
          <ac:picMkLst>
            <pc:docMk/>
            <pc:sldMk cId="2244114374" sldId="2076136621"/>
            <ac:picMk id="5" creationId="{FDBB218B-D216-40B7-8F2C-A3E7183360A3}"/>
          </ac:picMkLst>
        </pc:picChg>
        <pc:picChg chg="add mod">
          <ac:chgData name="Srikanth Gutha" userId="1de4ec77-3cd4-4727-9d7c-74657aaa26f5" providerId="ADAL" clId="{2A66C384-9EC8-45D7-B90D-F2922B9B0060}" dt="2020-07-28T21:05:03.099" v="1467" actId="1076"/>
          <ac:picMkLst>
            <pc:docMk/>
            <pc:sldMk cId="2244114374" sldId="2076136621"/>
            <ac:picMk id="6" creationId="{A8B48CBA-6B4F-4ABC-B2E2-E8DF6330A7A5}"/>
          </ac:picMkLst>
        </pc:picChg>
        <pc:picChg chg="add del mod">
          <ac:chgData name="Srikanth Gutha" userId="1de4ec77-3cd4-4727-9d7c-74657aaa26f5" providerId="ADAL" clId="{2A66C384-9EC8-45D7-B90D-F2922B9B0060}" dt="2020-07-28T21:04:33.739" v="1463" actId="478"/>
          <ac:picMkLst>
            <pc:docMk/>
            <pc:sldMk cId="2244114374" sldId="2076136621"/>
            <ac:picMk id="9" creationId="{222AE591-1B9D-44D2-9D3E-0ED680B2A61A}"/>
          </ac:picMkLst>
        </pc:picChg>
        <pc:picChg chg="add mod">
          <ac:chgData name="Srikanth Gutha" userId="1de4ec77-3cd4-4727-9d7c-74657aaa26f5" providerId="ADAL" clId="{2A66C384-9EC8-45D7-B90D-F2922B9B0060}" dt="2020-07-28T21:04:55.571" v="1466" actId="14100"/>
          <ac:picMkLst>
            <pc:docMk/>
            <pc:sldMk cId="2244114374" sldId="2076136621"/>
            <ac:picMk id="11" creationId="{0C7CF3E6-B184-4FA1-9FAE-AE9A2AB39DC5}"/>
          </ac:picMkLst>
        </pc:picChg>
        <pc:picChg chg="del">
          <ac:chgData name="Srikanth Gutha" userId="1de4ec77-3cd4-4727-9d7c-74657aaa26f5" providerId="ADAL" clId="{2A66C384-9EC8-45D7-B90D-F2922B9B0060}" dt="2020-07-28T21:02:15.997" v="1451" actId="478"/>
          <ac:picMkLst>
            <pc:docMk/>
            <pc:sldMk cId="2244114374" sldId="2076136621"/>
            <ac:picMk id="12" creationId="{E1B5488C-5464-462E-8574-94B1738B945D}"/>
          </ac:picMkLst>
        </pc:picChg>
      </pc:sldChg>
      <pc:sldChg chg="addSp delSp modSp add mod ord modNotesTx">
        <pc:chgData name="Srikanth Gutha" userId="1de4ec77-3cd4-4727-9d7c-74657aaa26f5" providerId="ADAL" clId="{2A66C384-9EC8-45D7-B90D-F2922B9B0060}" dt="2020-07-28T21:20:21.930" v="1799" actId="1076"/>
        <pc:sldMkLst>
          <pc:docMk/>
          <pc:sldMk cId="1215954425" sldId="2076136622"/>
        </pc:sldMkLst>
        <pc:spChg chg="mod">
          <ac:chgData name="Srikanth Gutha" userId="1de4ec77-3cd4-4727-9d7c-74657aaa26f5" providerId="ADAL" clId="{2A66C384-9EC8-45D7-B90D-F2922B9B0060}" dt="2020-07-28T21:19:56.240" v="1791" actId="20577"/>
          <ac:spMkLst>
            <pc:docMk/>
            <pc:sldMk cId="1215954425" sldId="2076136622"/>
            <ac:spMk id="2" creationId="{91C47C82-7B3D-4C20-9A87-FD69531E87BE}"/>
          </ac:spMkLst>
        </pc:spChg>
        <pc:spChg chg="del mod">
          <ac:chgData name="Srikanth Gutha" userId="1de4ec77-3cd4-4727-9d7c-74657aaa26f5" providerId="ADAL" clId="{2A66C384-9EC8-45D7-B90D-F2922B9B0060}" dt="2020-07-28T21:20:02.671" v="1793" actId="478"/>
          <ac:spMkLst>
            <pc:docMk/>
            <pc:sldMk cId="1215954425" sldId="2076136622"/>
            <ac:spMk id="3" creationId="{A3B411ED-F2BA-43B8-87F0-34D285E29504}"/>
          </ac:spMkLst>
        </pc:spChg>
        <pc:spChg chg="add del mod">
          <ac:chgData name="Srikanth Gutha" userId="1de4ec77-3cd4-4727-9d7c-74657aaa26f5" providerId="ADAL" clId="{2A66C384-9EC8-45D7-B90D-F2922B9B0060}" dt="2020-07-28T21:20:06.272" v="1795" actId="478"/>
          <ac:spMkLst>
            <pc:docMk/>
            <pc:sldMk cId="1215954425" sldId="2076136622"/>
            <ac:spMk id="7" creationId="{6D37CA38-A85E-4A74-8D7A-07D269E62834}"/>
          </ac:spMkLst>
        </pc:spChg>
        <pc:spChg chg="mod">
          <ac:chgData name="Srikanth Gutha" userId="1de4ec77-3cd4-4727-9d7c-74657aaa26f5" providerId="ADAL" clId="{2A66C384-9EC8-45D7-B90D-F2922B9B0060}" dt="2020-07-28T21:20:16.169" v="1797" actId="1076"/>
          <ac:spMkLst>
            <pc:docMk/>
            <pc:sldMk cId="1215954425" sldId="2076136622"/>
            <ac:spMk id="8" creationId="{CF888F36-9815-4F73-B555-0731C98D728D}"/>
          </ac:spMkLst>
        </pc:spChg>
        <pc:spChg chg="add mod">
          <ac:chgData name="Srikanth Gutha" userId="1de4ec77-3cd4-4727-9d7c-74657aaa26f5" providerId="ADAL" clId="{2A66C384-9EC8-45D7-B90D-F2922B9B0060}" dt="2020-07-28T21:20:21.930" v="1799" actId="1076"/>
          <ac:spMkLst>
            <pc:docMk/>
            <pc:sldMk cId="1215954425" sldId="2076136622"/>
            <ac:spMk id="10" creationId="{DFCD5379-1831-4514-A9F3-E3E8B1D8C1E7}"/>
          </ac:spMkLst>
        </pc:spChg>
        <pc:spChg chg="del">
          <ac:chgData name="Srikanth Gutha" userId="1de4ec77-3cd4-4727-9d7c-74657aaa26f5" providerId="ADAL" clId="{2A66C384-9EC8-45D7-B90D-F2922B9B0060}" dt="2020-07-28T21:15:58.920" v="1735" actId="478"/>
          <ac:spMkLst>
            <pc:docMk/>
            <pc:sldMk cId="1215954425" sldId="2076136622"/>
            <ac:spMk id="15" creationId="{D66010AE-94BF-46CD-BF13-43EC25C127F0}"/>
          </ac:spMkLst>
        </pc:spChg>
        <pc:spChg chg="del">
          <ac:chgData name="Srikanth Gutha" userId="1de4ec77-3cd4-4727-9d7c-74657aaa26f5" providerId="ADAL" clId="{2A66C384-9EC8-45D7-B90D-F2922B9B0060}" dt="2020-07-28T21:15:58.920" v="1735" actId="478"/>
          <ac:spMkLst>
            <pc:docMk/>
            <pc:sldMk cId="1215954425" sldId="2076136622"/>
            <ac:spMk id="16" creationId="{EDC5EE75-A089-437B-A3A2-33AEE86B33F7}"/>
          </ac:spMkLst>
        </pc:spChg>
        <pc:picChg chg="add del mod">
          <ac:chgData name="Srikanth Gutha" userId="1de4ec77-3cd4-4727-9d7c-74657aaa26f5" providerId="ADAL" clId="{2A66C384-9EC8-45D7-B90D-F2922B9B0060}" dt="2020-07-28T21:20:04.223" v="1794" actId="478"/>
          <ac:picMkLst>
            <pc:docMk/>
            <pc:sldMk cId="1215954425" sldId="2076136622"/>
            <ac:picMk id="5" creationId="{825CB521-4403-4A9D-96D1-45A4C33B8AF2}"/>
          </ac:picMkLst>
        </pc:picChg>
        <pc:picChg chg="del">
          <ac:chgData name="Srikanth Gutha" userId="1de4ec77-3cd4-4727-9d7c-74657aaa26f5" providerId="ADAL" clId="{2A66C384-9EC8-45D7-B90D-F2922B9B0060}" dt="2020-07-28T21:15:56.410" v="1734" actId="478"/>
          <ac:picMkLst>
            <pc:docMk/>
            <pc:sldMk cId="1215954425" sldId="2076136622"/>
            <ac:picMk id="6" creationId="{A8B48CBA-6B4F-4ABC-B2E2-E8DF6330A7A5}"/>
          </ac:picMkLst>
        </pc:picChg>
        <pc:picChg chg="add mod">
          <ac:chgData name="Srikanth Gutha" userId="1de4ec77-3cd4-4727-9d7c-74657aaa26f5" providerId="ADAL" clId="{2A66C384-9EC8-45D7-B90D-F2922B9B0060}" dt="2020-07-28T21:20:18.960" v="1798" actId="1076"/>
          <ac:picMkLst>
            <pc:docMk/>
            <pc:sldMk cId="1215954425" sldId="2076136622"/>
            <ac:picMk id="9" creationId="{5B8A6BB8-C8D5-4374-AA49-D02773DFC866}"/>
          </ac:picMkLst>
        </pc:picChg>
        <pc:picChg chg="del">
          <ac:chgData name="Srikanth Gutha" userId="1de4ec77-3cd4-4727-9d7c-74657aaa26f5" providerId="ADAL" clId="{2A66C384-9EC8-45D7-B90D-F2922B9B0060}" dt="2020-07-28T21:13:19.834" v="1610" actId="478"/>
          <ac:picMkLst>
            <pc:docMk/>
            <pc:sldMk cId="1215954425" sldId="2076136622"/>
            <ac:picMk id="11" creationId="{0C7CF3E6-B184-4FA1-9FAE-AE9A2AB39DC5}"/>
          </ac:picMkLst>
        </pc:picChg>
      </pc:sldChg>
      <pc:sldChg chg="addSp delSp modSp add mod modNotesTx">
        <pc:chgData name="Srikanth Gutha" userId="1de4ec77-3cd4-4727-9d7c-74657aaa26f5" providerId="ADAL" clId="{2A66C384-9EC8-45D7-B90D-F2922B9B0060}" dt="2020-07-28T21:23:44.737" v="1879" actId="113"/>
        <pc:sldMkLst>
          <pc:docMk/>
          <pc:sldMk cId="571123062" sldId="2076136623"/>
        </pc:sldMkLst>
        <pc:spChg chg="add mod">
          <ac:chgData name="Srikanth Gutha" userId="1de4ec77-3cd4-4727-9d7c-74657aaa26f5" providerId="ADAL" clId="{2A66C384-9EC8-45D7-B90D-F2922B9B0060}" dt="2020-07-28T21:23:44.737" v="1879" actId="113"/>
          <ac:spMkLst>
            <pc:docMk/>
            <pc:sldMk cId="571123062" sldId="2076136623"/>
            <ac:spMk id="6" creationId="{18628E04-7BD8-4A6F-9144-FDF46BBA12F9}"/>
          </ac:spMkLst>
        </pc:spChg>
        <pc:spChg chg="del">
          <ac:chgData name="Srikanth Gutha" userId="1de4ec77-3cd4-4727-9d7c-74657aaa26f5" providerId="ADAL" clId="{2A66C384-9EC8-45D7-B90D-F2922B9B0060}" dt="2020-07-28T21:19:40.885" v="1771" actId="478"/>
          <ac:spMkLst>
            <pc:docMk/>
            <pc:sldMk cId="571123062" sldId="2076136623"/>
            <ac:spMk id="10" creationId="{DFCD5379-1831-4514-A9F3-E3E8B1D8C1E7}"/>
          </ac:spMkLst>
        </pc:spChg>
        <pc:picChg chg="add mod">
          <ac:chgData name="Srikanth Gutha" userId="1de4ec77-3cd4-4727-9d7c-74657aaa26f5" providerId="ADAL" clId="{2A66C384-9EC8-45D7-B90D-F2922B9B0060}" dt="2020-07-28T21:19:36.986" v="1770" actId="1076"/>
          <ac:picMkLst>
            <pc:docMk/>
            <pc:sldMk cId="571123062" sldId="2076136623"/>
            <ac:picMk id="4" creationId="{A67645BD-7651-48FC-A76A-F95BF9F420E6}"/>
          </ac:picMkLst>
        </pc:picChg>
        <pc:picChg chg="del">
          <ac:chgData name="Srikanth Gutha" userId="1de4ec77-3cd4-4727-9d7c-74657aaa26f5" providerId="ADAL" clId="{2A66C384-9EC8-45D7-B90D-F2922B9B0060}" dt="2020-07-28T21:19:34.044" v="1768" actId="478"/>
          <ac:picMkLst>
            <pc:docMk/>
            <pc:sldMk cId="571123062" sldId="2076136623"/>
            <ac:picMk id="9" creationId="{5B8A6BB8-C8D5-4374-AA49-D02773DFC866}"/>
          </ac:picMkLst>
        </pc:picChg>
      </pc:sldChg>
      <pc:sldChg chg="addSp delSp modSp add mod ord modNotesTx">
        <pc:chgData name="Srikanth Gutha" userId="1de4ec77-3cd4-4727-9d7c-74657aaa26f5" providerId="ADAL" clId="{2A66C384-9EC8-45D7-B90D-F2922B9B0060}" dt="2020-07-28T21:34:12.478" v="1948" actId="14100"/>
        <pc:sldMkLst>
          <pc:docMk/>
          <pc:sldMk cId="3849188047" sldId="2076136624"/>
        </pc:sldMkLst>
        <pc:spChg chg="mod">
          <ac:chgData name="Srikanth Gutha" userId="1de4ec77-3cd4-4727-9d7c-74657aaa26f5" providerId="ADAL" clId="{2A66C384-9EC8-45D7-B90D-F2922B9B0060}" dt="2020-07-28T21:24:42.900" v="1894" actId="20577"/>
          <ac:spMkLst>
            <pc:docMk/>
            <pc:sldMk cId="3849188047" sldId="2076136624"/>
            <ac:spMk id="2" creationId="{91C47C82-7B3D-4C20-9A87-FD69531E87BE}"/>
          </ac:spMkLst>
        </pc:spChg>
        <pc:spChg chg="del">
          <ac:chgData name="Srikanth Gutha" userId="1de4ec77-3cd4-4727-9d7c-74657aaa26f5" providerId="ADAL" clId="{2A66C384-9EC8-45D7-B90D-F2922B9B0060}" dt="2020-07-28T21:30:34.225" v="1919" actId="478"/>
          <ac:spMkLst>
            <pc:docMk/>
            <pc:sldMk cId="3849188047" sldId="2076136624"/>
            <ac:spMk id="6" creationId="{18628E04-7BD8-4A6F-9144-FDF46BBA12F9}"/>
          </ac:spMkLst>
        </pc:spChg>
        <pc:spChg chg="mod">
          <ac:chgData name="Srikanth Gutha" userId="1de4ec77-3cd4-4727-9d7c-74657aaa26f5" providerId="ADAL" clId="{2A66C384-9EC8-45D7-B90D-F2922B9B0060}" dt="2020-07-28T21:28:31.058" v="1910"/>
          <ac:spMkLst>
            <pc:docMk/>
            <pc:sldMk cId="3849188047" sldId="2076136624"/>
            <ac:spMk id="7" creationId="{6D37CA38-A85E-4A74-8D7A-07D269E62834}"/>
          </ac:spMkLst>
        </pc:spChg>
        <pc:picChg chg="del">
          <ac:chgData name="Srikanth Gutha" userId="1de4ec77-3cd4-4727-9d7c-74657aaa26f5" providerId="ADAL" clId="{2A66C384-9EC8-45D7-B90D-F2922B9B0060}" dt="2020-07-28T21:26:53.939" v="1896" actId="478"/>
          <ac:picMkLst>
            <pc:docMk/>
            <pc:sldMk cId="3849188047" sldId="2076136624"/>
            <ac:picMk id="4" creationId="{A67645BD-7651-48FC-A76A-F95BF9F420E6}"/>
          </ac:picMkLst>
        </pc:picChg>
        <pc:picChg chg="del">
          <ac:chgData name="Srikanth Gutha" userId="1de4ec77-3cd4-4727-9d7c-74657aaa26f5" providerId="ADAL" clId="{2A66C384-9EC8-45D7-B90D-F2922B9B0060}" dt="2020-07-28T21:26:52.527" v="1895" actId="478"/>
          <ac:picMkLst>
            <pc:docMk/>
            <pc:sldMk cId="3849188047" sldId="2076136624"/>
            <ac:picMk id="5" creationId="{825CB521-4403-4A9D-96D1-45A4C33B8AF2}"/>
          </ac:picMkLst>
        </pc:picChg>
        <pc:picChg chg="add del mod">
          <ac:chgData name="Srikanth Gutha" userId="1de4ec77-3cd4-4727-9d7c-74657aaa26f5" providerId="ADAL" clId="{2A66C384-9EC8-45D7-B90D-F2922B9B0060}" dt="2020-07-28T21:27:53.376" v="1901" actId="478"/>
          <ac:picMkLst>
            <pc:docMk/>
            <pc:sldMk cId="3849188047" sldId="2076136624"/>
            <ac:picMk id="10" creationId="{3915DDAD-9663-46AF-B4E2-6621FC0A22C2}"/>
          </ac:picMkLst>
        </pc:picChg>
        <pc:picChg chg="add del mod">
          <ac:chgData name="Srikanth Gutha" userId="1de4ec77-3cd4-4727-9d7c-74657aaa26f5" providerId="ADAL" clId="{2A66C384-9EC8-45D7-B90D-F2922B9B0060}" dt="2020-07-28T21:28:00.974" v="1903" actId="478"/>
          <ac:picMkLst>
            <pc:docMk/>
            <pc:sldMk cId="3849188047" sldId="2076136624"/>
            <ac:picMk id="12" creationId="{9D03B119-88B2-413B-9E14-669AD61DFF48}"/>
          </ac:picMkLst>
        </pc:picChg>
        <pc:picChg chg="add mod">
          <ac:chgData name="Srikanth Gutha" userId="1de4ec77-3cd4-4727-9d7c-74657aaa26f5" providerId="ADAL" clId="{2A66C384-9EC8-45D7-B90D-F2922B9B0060}" dt="2020-07-28T21:28:13.055" v="1909" actId="14100"/>
          <ac:picMkLst>
            <pc:docMk/>
            <pc:sldMk cId="3849188047" sldId="2076136624"/>
            <ac:picMk id="14" creationId="{5E06DF2F-2E5C-436C-A160-29BF07A2CD15}"/>
          </ac:picMkLst>
        </pc:picChg>
        <pc:picChg chg="add mod">
          <ac:chgData name="Srikanth Gutha" userId="1de4ec77-3cd4-4727-9d7c-74657aaa26f5" providerId="ADAL" clId="{2A66C384-9EC8-45D7-B90D-F2922B9B0060}" dt="2020-07-28T21:28:06.888" v="1907" actId="14100"/>
          <ac:picMkLst>
            <pc:docMk/>
            <pc:sldMk cId="3849188047" sldId="2076136624"/>
            <ac:picMk id="16" creationId="{097AF5B0-72B5-4D4C-BC9E-EC3261028378}"/>
          </ac:picMkLst>
        </pc:picChg>
        <pc:picChg chg="add del mod">
          <ac:chgData name="Srikanth Gutha" userId="1de4ec77-3cd4-4727-9d7c-74657aaa26f5" providerId="ADAL" clId="{2A66C384-9EC8-45D7-B90D-F2922B9B0060}" dt="2020-07-28T21:33:02.374" v="1932" actId="478"/>
          <ac:picMkLst>
            <pc:docMk/>
            <pc:sldMk cId="3849188047" sldId="2076136624"/>
            <ac:picMk id="18" creationId="{C9E82560-D809-4848-8892-C38D8E01D94C}"/>
          </ac:picMkLst>
        </pc:picChg>
        <pc:picChg chg="add del mod">
          <ac:chgData name="Srikanth Gutha" userId="1de4ec77-3cd4-4727-9d7c-74657aaa26f5" providerId="ADAL" clId="{2A66C384-9EC8-45D7-B90D-F2922B9B0060}" dt="2020-07-28T21:33:04.233" v="1935" actId="478"/>
          <ac:picMkLst>
            <pc:docMk/>
            <pc:sldMk cId="3849188047" sldId="2076136624"/>
            <ac:picMk id="20" creationId="{7C6DCD91-5472-4E9B-84BF-6CF43839DAD2}"/>
          </ac:picMkLst>
        </pc:picChg>
        <pc:picChg chg="add mod">
          <ac:chgData name="Srikanth Gutha" userId="1de4ec77-3cd4-4727-9d7c-74657aaa26f5" providerId="ADAL" clId="{2A66C384-9EC8-45D7-B90D-F2922B9B0060}" dt="2020-07-28T21:33:20.341" v="1940" actId="14100"/>
          <ac:picMkLst>
            <pc:docMk/>
            <pc:sldMk cId="3849188047" sldId="2076136624"/>
            <ac:picMk id="24" creationId="{8A3FA415-0D72-43C0-B35F-B541BEB5BACB}"/>
          </ac:picMkLst>
        </pc:picChg>
        <pc:picChg chg="add mod">
          <ac:chgData name="Srikanth Gutha" userId="1de4ec77-3cd4-4727-9d7c-74657aaa26f5" providerId="ADAL" clId="{2A66C384-9EC8-45D7-B90D-F2922B9B0060}" dt="2020-07-28T21:33:46.318" v="1945" actId="1076"/>
          <ac:picMkLst>
            <pc:docMk/>
            <pc:sldMk cId="3849188047" sldId="2076136624"/>
            <ac:picMk id="26" creationId="{AD87A1DB-0C68-4941-8A0E-8361DA9F6481}"/>
          </ac:picMkLst>
        </pc:picChg>
        <pc:cxnChg chg="add del">
          <ac:chgData name="Srikanth Gutha" userId="1de4ec77-3cd4-4727-9d7c-74657aaa26f5" providerId="ADAL" clId="{2A66C384-9EC8-45D7-B90D-F2922B9B0060}" dt="2020-07-28T21:33:03.005" v="1934" actId="478"/>
          <ac:cxnSpMkLst>
            <pc:docMk/>
            <pc:sldMk cId="3849188047" sldId="2076136624"/>
            <ac:cxnSpMk id="22" creationId="{14BF48F2-27BA-437B-8187-08E7588CAE0B}"/>
          </ac:cxnSpMkLst>
        </pc:cxnChg>
        <pc:cxnChg chg="add mod">
          <ac:chgData name="Srikanth Gutha" userId="1de4ec77-3cd4-4727-9d7c-74657aaa26f5" providerId="ADAL" clId="{2A66C384-9EC8-45D7-B90D-F2922B9B0060}" dt="2020-07-28T21:34:12.478" v="1948" actId="14100"/>
          <ac:cxnSpMkLst>
            <pc:docMk/>
            <pc:sldMk cId="3849188047" sldId="2076136624"/>
            <ac:cxnSpMk id="28" creationId="{E868088D-AE53-4C41-8390-EE90F0D08A52}"/>
          </ac:cxnSpMkLst>
        </pc:cxnChg>
        <pc:cxnChg chg="add mod">
          <ac:chgData name="Srikanth Gutha" userId="1de4ec77-3cd4-4727-9d7c-74657aaa26f5" providerId="ADAL" clId="{2A66C384-9EC8-45D7-B90D-F2922B9B0060}" dt="2020-07-28T21:34:03.943" v="1947" actId="14100"/>
          <ac:cxnSpMkLst>
            <pc:docMk/>
            <pc:sldMk cId="3849188047" sldId="2076136624"/>
            <ac:cxnSpMk id="30" creationId="{4A3C2209-DABB-483E-BA2C-8CF597262412}"/>
          </ac:cxnSpMkLst>
        </pc:cxnChg>
      </pc:sldChg>
    </pc:docChg>
  </pc:docChgLst>
  <pc:docChgLst>
    <pc:chgData name="Kenny De Angelo" userId="S::kennetha@microsoft.com::0b4ab973-6295-41ec-9d75-bf80382f863e" providerId="AD" clId="Web-{F9B473F7-8DE6-3019-4DD5-83E3631B8D38}"/>
    <pc:docChg chg="delSld sldOrd modSection">
      <pc:chgData name="Kenny De Angelo" userId="S::kennetha@microsoft.com::0b4ab973-6295-41ec-9d75-bf80382f863e" providerId="AD" clId="Web-{F9B473F7-8DE6-3019-4DD5-83E3631B8D38}" dt="2020-08-26T14:57:26.418" v="7"/>
      <pc:docMkLst>
        <pc:docMk/>
      </pc:docMkLst>
      <pc:sldChg chg="ord">
        <pc:chgData name="Kenny De Angelo" userId="S::kennetha@microsoft.com::0b4ab973-6295-41ec-9d75-bf80382f863e" providerId="AD" clId="Web-{F9B473F7-8DE6-3019-4DD5-83E3631B8D38}" dt="2020-08-26T14:57:26.418" v="7"/>
        <pc:sldMkLst>
          <pc:docMk/>
          <pc:sldMk cId="4255263767" sldId="2076136556"/>
        </pc:sldMkLst>
      </pc:sldChg>
      <pc:sldChg chg="del">
        <pc:chgData name="Kenny De Angelo" userId="S::kennetha@microsoft.com::0b4ab973-6295-41ec-9d75-bf80382f863e" providerId="AD" clId="Web-{F9B473F7-8DE6-3019-4DD5-83E3631B8D38}" dt="2020-08-26T14:56:36.542" v="5"/>
        <pc:sldMkLst>
          <pc:docMk/>
          <pc:sldMk cId="2761402525" sldId="2076136568"/>
        </pc:sldMkLst>
      </pc:sldChg>
      <pc:sldChg chg="ord">
        <pc:chgData name="Kenny De Angelo" userId="S::kennetha@microsoft.com::0b4ab973-6295-41ec-9d75-bf80382f863e" providerId="AD" clId="Web-{F9B473F7-8DE6-3019-4DD5-83E3631B8D38}" dt="2020-08-26T14:57:21.980" v="6"/>
        <pc:sldMkLst>
          <pc:docMk/>
          <pc:sldMk cId="3612278145" sldId="2076136569"/>
        </pc:sldMkLst>
      </pc:sldChg>
      <pc:sldChg chg="del">
        <pc:chgData name="Kenny De Angelo" userId="S::kennetha@microsoft.com::0b4ab973-6295-41ec-9d75-bf80382f863e" providerId="AD" clId="Web-{F9B473F7-8DE6-3019-4DD5-83E3631B8D38}" dt="2020-08-26T14:56:18.432" v="0"/>
        <pc:sldMkLst>
          <pc:docMk/>
          <pc:sldMk cId="2142719349" sldId="2076136602"/>
        </pc:sldMkLst>
      </pc:sldChg>
      <pc:sldChg chg="del">
        <pc:chgData name="Kenny De Angelo" userId="S::kennetha@microsoft.com::0b4ab973-6295-41ec-9d75-bf80382f863e" providerId="AD" clId="Web-{F9B473F7-8DE6-3019-4DD5-83E3631B8D38}" dt="2020-08-26T14:56:23.463" v="1"/>
        <pc:sldMkLst>
          <pc:docMk/>
          <pc:sldMk cId="51697965" sldId="2076136603"/>
        </pc:sldMkLst>
      </pc:sldChg>
      <pc:sldChg chg="del">
        <pc:chgData name="Kenny De Angelo" userId="S::kennetha@microsoft.com::0b4ab973-6295-41ec-9d75-bf80382f863e" providerId="AD" clId="Web-{F9B473F7-8DE6-3019-4DD5-83E3631B8D38}" dt="2020-08-26T14:56:25.995" v="2"/>
        <pc:sldMkLst>
          <pc:docMk/>
          <pc:sldMk cId="1354520245" sldId="2076136604"/>
        </pc:sldMkLst>
      </pc:sldChg>
      <pc:sldChg chg="del">
        <pc:chgData name="Kenny De Angelo" userId="S::kennetha@microsoft.com::0b4ab973-6295-41ec-9d75-bf80382f863e" providerId="AD" clId="Web-{F9B473F7-8DE6-3019-4DD5-83E3631B8D38}" dt="2020-08-26T14:56:29.323" v="3"/>
        <pc:sldMkLst>
          <pc:docMk/>
          <pc:sldMk cId="2488288448" sldId="2076136605"/>
        </pc:sldMkLst>
      </pc:sldChg>
      <pc:sldChg chg="del">
        <pc:chgData name="Kenny De Angelo" userId="S::kennetha@microsoft.com::0b4ab973-6295-41ec-9d75-bf80382f863e" providerId="AD" clId="Web-{F9B473F7-8DE6-3019-4DD5-83E3631B8D38}" dt="2020-08-26T14:56:33.120" v="4"/>
        <pc:sldMkLst>
          <pc:docMk/>
          <pc:sldMk cId="2005713003" sldId="2076136606"/>
        </pc:sldMkLst>
      </pc:sldChg>
    </pc:docChg>
  </pc:docChgLst>
  <pc:docChgLst>
    <pc:chgData name="Amber Weise" userId="3ca30e27-9a99-4c36-a22b-2cf2c031f50a" providerId="ADAL" clId="{12D41955-D03E-4387-8E70-1917F2831F81}"/>
    <pc:docChg chg="undo custSel addSld delSld modSld modSection">
      <pc:chgData name="Amber Weise" userId="3ca30e27-9a99-4c36-a22b-2cf2c031f50a" providerId="ADAL" clId="{12D41955-D03E-4387-8E70-1917F2831F81}" dt="2020-02-24T15:45:01.765" v="667" actId="47"/>
      <pc:docMkLst>
        <pc:docMk/>
      </pc:docMkLst>
      <pc:sldChg chg="modNotesTx">
        <pc:chgData name="Amber Weise" userId="3ca30e27-9a99-4c36-a22b-2cf2c031f50a" providerId="ADAL" clId="{12D41955-D03E-4387-8E70-1917F2831F81}" dt="2020-02-24T15:27:37.706" v="0" actId="20577"/>
        <pc:sldMkLst>
          <pc:docMk/>
          <pc:sldMk cId="2445481854" sldId="269"/>
        </pc:sldMkLst>
      </pc:sldChg>
      <pc:sldChg chg="addSp delSp modSp mod">
        <pc:chgData name="Amber Weise" userId="3ca30e27-9a99-4c36-a22b-2cf2c031f50a" providerId="ADAL" clId="{12D41955-D03E-4387-8E70-1917F2831F81}" dt="2020-02-24T15:34:56.813" v="408" actId="1076"/>
        <pc:sldMkLst>
          <pc:docMk/>
          <pc:sldMk cId="3988240042" sldId="279"/>
        </pc:sldMkLst>
        <pc:spChg chg="add del mod">
          <ac:chgData name="Amber Weise" userId="3ca30e27-9a99-4c36-a22b-2cf2c031f50a" providerId="ADAL" clId="{12D41955-D03E-4387-8E70-1917F2831F81}" dt="2020-02-24T15:32:08.308" v="167" actId="478"/>
          <ac:spMkLst>
            <pc:docMk/>
            <pc:sldMk cId="3988240042" sldId="279"/>
            <ac:spMk id="7" creationId="{632B1F3E-FAC2-4EB0-A62C-E52F48D83EF9}"/>
          </ac:spMkLst>
        </pc:spChg>
        <pc:spChg chg="add del mod">
          <ac:chgData name="Amber Weise" userId="3ca30e27-9a99-4c36-a22b-2cf2c031f50a" providerId="ADAL" clId="{12D41955-D03E-4387-8E70-1917F2831F81}" dt="2020-02-24T15:32:52.111" v="271" actId="478"/>
          <ac:spMkLst>
            <pc:docMk/>
            <pc:sldMk cId="3988240042" sldId="279"/>
            <ac:spMk id="9" creationId="{0FA5848B-1A6A-4D76-84B0-9939A4642D80}"/>
          </ac:spMkLst>
        </pc:spChg>
        <pc:spChg chg="add mod">
          <ac:chgData name="Amber Weise" userId="3ca30e27-9a99-4c36-a22b-2cf2c031f50a" providerId="ADAL" clId="{12D41955-D03E-4387-8E70-1917F2831F81}" dt="2020-02-24T15:34:17.248" v="288" actId="14100"/>
          <ac:spMkLst>
            <pc:docMk/>
            <pc:sldMk cId="3988240042" sldId="279"/>
            <ac:spMk id="10" creationId="{C7C0CF23-663E-4232-AD1A-AF00EA46B238}"/>
          </ac:spMkLst>
        </pc:spChg>
        <pc:spChg chg="add mod">
          <ac:chgData name="Amber Weise" userId="3ca30e27-9a99-4c36-a22b-2cf2c031f50a" providerId="ADAL" clId="{12D41955-D03E-4387-8E70-1917F2831F81}" dt="2020-02-24T15:34:56.813" v="408" actId="1076"/>
          <ac:spMkLst>
            <pc:docMk/>
            <pc:sldMk cId="3988240042" sldId="279"/>
            <ac:spMk id="11" creationId="{82F65C6B-4BFC-499C-A986-64516859DBDD}"/>
          </ac:spMkLst>
        </pc:spChg>
        <pc:graphicFrameChg chg="add mod modGraphic">
          <ac:chgData name="Amber Weise" userId="3ca30e27-9a99-4c36-a22b-2cf2c031f50a" providerId="ADAL" clId="{12D41955-D03E-4387-8E70-1917F2831F81}" dt="2020-02-24T15:33:37.428" v="283" actId="14100"/>
          <ac:graphicFrameMkLst>
            <pc:docMk/>
            <pc:sldMk cId="3988240042" sldId="279"/>
            <ac:graphicFrameMk id="3" creationId="{4801DE5F-3819-42FE-9F3D-ECF2A959A2C7}"/>
          </ac:graphicFrameMkLst>
        </pc:graphicFrameChg>
        <pc:graphicFrameChg chg="add del mod">
          <ac:chgData name="Amber Weise" userId="3ca30e27-9a99-4c36-a22b-2cf2c031f50a" providerId="ADAL" clId="{12D41955-D03E-4387-8E70-1917F2831F81}" dt="2020-02-24T15:32:49.827" v="270" actId="478"/>
          <ac:graphicFrameMkLst>
            <pc:docMk/>
            <pc:sldMk cId="3988240042" sldId="279"/>
            <ac:graphicFrameMk id="6" creationId="{66EAA3BB-C01C-41DA-909F-C677FA1FA8C4}"/>
          </ac:graphicFrameMkLst>
        </pc:graphicFrameChg>
      </pc:sldChg>
      <pc:sldChg chg="addSp modSp add del mod modAnim">
        <pc:chgData name="Amber Weise" userId="3ca30e27-9a99-4c36-a22b-2cf2c031f50a" providerId="ADAL" clId="{12D41955-D03E-4387-8E70-1917F2831F81}" dt="2020-02-24T15:45:01.765" v="667" actId="47"/>
        <pc:sldMkLst>
          <pc:docMk/>
          <pc:sldMk cId="692092171" sldId="2076136540"/>
        </pc:sldMkLst>
        <pc:spChg chg="mod">
          <ac:chgData name="Amber Weise" userId="3ca30e27-9a99-4c36-a22b-2cf2c031f50a" providerId="ADAL" clId="{12D41955-D03E-4387-8E70-1917F2831F81}" dt="2020-02-24T15:37:36.702" v="479" actId="20577"/>
          <ac:spMkLst>
            <pc:docMk/>
            <pc:sldMk cId="692092171" sldId="2076136540"/>
            <ac:spMk id="2" creationId="{A5EA3D63-86B4-41F3-82D3-2EB33E37EFE7}"/>
          </ac:spMkLst>
        </pc:spChg>
        <pc:spChg chg="mod">
          <ac:chgData name="Amber Weise" userId="3ca30e27-9a99-4c36-a22b-2cf2c031f50a" providerId="ADAL" clId="{12D41955-D03E-4387-8E70-1917F2831F81}" dt="2020-02-24T15:38:21.450" v="526" actId="1076"/>
          <ac:spMkLst>
            <pc:docMk/>
            <pc:sldMk cId="692092171" sldId="2076136540"/>
            <ac:spMk id="3" creationId="{B3F15E65-7374-4485-A69B-80AA3B8C9468}"/>
          </ac:spMkLst>
        </pc:spChg>
        <pc:spChg chg="add mod">
          <ac:chgData name="Amber Weise" userId="3ca30e27-9a99-4c36-a22b-2cf2c031f50a" providerId="ADAL" clId="{12D41955-D03E-4387-8E70-1917F2831F81}" dt="2020-02-24T15:38:19.097" v="525" actId="1076"/>
          <ac:spMkLst>
            <pc:docMk/>
            <pc:sldMk cId="692092171" sldId="2076136540"/>
            <ac:spMk id="6" creationId="{183B7986-2986-4707-A5A5-095617EFD985}"/>
          </ac:spMkLst>
        </pc:spChg>
        <pc:spChg chg="add mod">
          <ac:chgData name="Amber Weise" userId="3ca30e27-9a99-4c36-a22b-2cf2c031f50a" providerId="ADAL" clId="{12D41955-D03E-4387-8E70-1917F2831F81}" dt="2020-02-24T15:43:01.033" v="648" actId="164"/>
          <ac:spMkLst>
            <pc:docMk/>
            <pc:sldMk cId="692092171" sldId="2076136540"/>
            <ac:spMk id="7" creationId="{0BF7F5E1-6C96-4BAD-AF23-B778690C6D90}"/>
          </ac:spMkLst>
        </pc:spChg>
        <pc:spChg chg="add mod">
          <ac:chgData name="Amber Weise" userId="3ca30e27-9a99-4c36-a22b-2cf2c031f50a" providerId="ADAL" clId="{12D41955-D03E-4387-8E70-1917F2831F81}" dt="2020-02-24T15:43:43.854" v="655" actId="164"/>
          <ac:spMkLst>
            <pc:docMk/>
            <pc:sldMk cId="692092171" sldId="2076136540"/>
            <ac:spMk id="8" creationId="{2DF170F8-DDD2-4CB4-B922-B5EB454D496D}"/>
          </ac:spMkLst>
        </pc:spChg>
        <pc:spChg chg="mod">
          <ac:chgData name="Amber Weise" userId="3ca30e27-9a99-4c36-a22b-2cf2c031f50a" providerId="ADAL" clId="{12D41955-D03E-4387-8E70-1917F2831F81}" dt="2020-02-24T15:44:22.650" v="664" actId="1076"/>
          <ac:spMkLst>
            <pc:docMk/>
            <pc:sldMk cId="692092171" sldId="2076136540"/>
            <ac:spMk id="13" creationId="{A6777ABE-A0B8-4BFA-965C-BAE24F7AF533}"/>
          </ac:spMkLst>
        </pc:spChg>
        <pc:spChg chg="mod">
          <ac:chgData name="Amber Weise" userId="3ca30e27-9a99-4c36-a22b-2cf2c031f50a" providerId="ADAL" clId="{12D41955-D03E-4387-8E70-1917F2831F81}" dt="2020-02-24T15:44:30.522" v="666" actId="1076"/>
          <ac:spMkLst>
            <pc:docMk/>
            <pc:sldMk cId="692092171" sldId="2076136540"/>
            <ac:spMk id="16" creationId="{2298FBE5-2BC0-49F0-9947-B14529750219}"/>
          </ac:spMkLst>
        </pc:spChg>
        <pc:spChg chg="add mod">
          <ac:chgData name="Amber Weise" userId="3ca30e27-9a99-4c36-a22b-2cf2c031f50a" providerId="ADAL" clId="{12D41955-D03E-4387-8E70-1917F2831F81}" dt="2020-02-24T15:42:45.216" v="646" actId="1076"/>
          <ac:spMkLst>
            <pc:docMk/>
            <pc:sldMk cId="692092171" sldId="2076136540"/>
            <ac:spMk id="17" creationId="{13139DD9-0C31-490A-8D89-0AC87FB7875D}"/>
          </ac:spMkLst>
        </pc:spChg>
        <pc:grpChg chg="add mod ord">
          <ac:chgData name="Amber Weise" userId="3ca30e27-9a99-4c36-a22b-2cf2c031f50a" providerId="ADAL" clId="{12D41955-D03E-4387-8E70-1917F2831F81}" dt="2020-02-24T15:43:43.854" v="655" actId="164"/>
          <ac:grpSpMkLst>
            <pc:docMk/>
            <pc:sldMk cId="692092171" sldId="2076136540"/>
            <ac:grpSpMk id="9" creationId="{57DF83C0-AE6A-48D0-B995-EDAF583BD854}"/>
          </ac:grpSpMkLst>
        </pc:grpChg>
        <pc:grpChg chg="add mod">
          <ac:chgData name="Amber Weise" userId="3ca30e27-9a99-4c36-a22b-2cf2c031f50a" providerId="ADAL" clId="{12D41955-D03E-4387-8E70-1917F2831F81}" dt="2020-02-24T15:43:43.854" v="655" actId="164"/>
          <ac:grpSpMkLst>
            <pc:docMk/>
            <pc:sldMk cId="692092171" sldId="2076136540"/>
            <ac:grpSpMk id="14" creationId="{EF929829-07A0-4784-8ACF-4A34E14F70BD}"/>
          </ac:grpSpMkLst>
        </pc:grpChg>
        <pc:grpChg chg="add mod">
          <ac:chgData name="Amber Weise" userId="3ca30e27-9a99-4c36-a22b-2cf2c031f50a" providerId="ADAL" clId="{12D41955-D03E-4387-8E70-1917F2831F81}" dt="2020-02-24T15:43:25.446" v="652" actId="1076"/>
          <ac:grpSpMkLst>
            <pc:docMk/>
            <pc:sldMk cId="692092171" sldId="2076136540"/>
            <ac:grpSpMk id="18" creationId="{6440A6A3-7C61-433E-A5C1-3776E7F0E757}"/>
          </ac:grpSpMkLst>
        </pc:grpChg>
        <pc:grpChg chg="add mod">
          <ac:chgData name="Amber Weise" userId="3ca30e27-9a99-4c36-a22b-2cf2c031f50a" providerId="ADAL" clId="{12D41955-D03E-4387-8E70-1917F2831F81}" dt="2020-02-24T15:42:34.403" v="644" actId="1076"/>
          <ac:grpSpMkLst>
            <pc:docMk/>
            <pc:sldMk cId="692092171" sldId="2076136540"/>
            <ac:grpSpMk id="21" creationId="{7CE7A0C1-284C-44AE-8F94-8F0EA9A717F9}"/>
          </ac:grpSpMkLst>
        </pc:grpChg>
        <pc:grpChg chg="add mod">
          <ac:chgData name="Amber Weise" userId="3ca30e27-9a99-4c36-a22b-2cf2c031f50a" providerId="ADAL" clId="{12D41955-D03E-4387-8E70-1917F2831F81}" dt="2020-02-24T15:43:01.033" v="648" actId="164"/>
          <ac:grpSpMkLst>
            <pc:docMk/>
            <pc:sldMk cId="692092171" sldId="2076136540"/>
            <ac:grpSpMk id="24" creationId="{A949F262-9CBC-42FF-A247-62BC4CACED8F}"/>
          </ac:grpSpMkLst>
        </pc:grpChg>
        <pc:grpChg chg="add mod">
          <ac:chgData name="Amber Weise" userId="3ca30e27-9a99-4c36-a22b-2cf2c031f50a" providerId="ADAL" clId="{12D41955-D03E-4387-8E70-1917F2831F81}" dt="2020-02-24T15:44:11.417" v="661" actId="1076"/>
          <ac:grpSpMkLst>
            <pc:docMk/>
            <pc:sldMk cId="692092171" sldId="2076136540"/>
            <ac:grpSpMk id="25" creationId="{F5B61158-47DC-44AB-86E8-ECA7A11EA9F1}"/>
          </ac:grpSpMkLst>
        </pc:grpChg>
        <pc:picChg chg="add mod">
          <ac:chgData name="Amber Weise" userId="3ca30e27-9a99-4c36-a22b-2cf2c031f50a" providerId="ADAL" clId="{12D41955-D03E-4387-8E70-1917F2831F81}" dt="2020-02-24T15:43:01.033" v="648" actId="164"/>
          <ac:picMkLst>
            <pc:docMk/>
            <pc:sldMk cId="692092171" sldId="2076136540"/>
            <ac:picMk id="4" creationId="{FDB507AA-3523-4EBD-AA3D-99A2C237A597}"/>
          </ac:picMkLst>
        </pc:picChg>
        <pc:picChg chg="add mod">
          <ac:chgData name="Amber Weise" userId="3ca30e27-9a99-4c36-a22b-2cf2c031f50a" providerId="ADAL" clId="{12D41955-D03E-4387-8E70-1917F2831F81}" dt="2020-02-24T15:43:01.033" v="648" actId="164"/>
          <ac:picMkLst>
            <pc:docMk/>
            <pc:sldMk cId="692092171" sldId="2076136540"/>
            <ac:picMk id="5" creationId="{551977FC-DA52-48A9-BB7E-1608C34982AD}"/>
          </ac:picMkLst>
        </pc:picChg>
        <pc:picChg chg="mod">
          <ac:chgData name="Amber Weise" userId="3ca30e27-9a99-4c36-a22b-2cf2c031f50a" providerId="ADAL" clId="{12D41955-D03E-4387-8E70-1917F2831F81}" dt="2020-02-24T15:44:14.617" v="662" actId="1076"/>
          <ac:picMkLst>
            <pc:docMk/>
            <pc:sldMk cId="692092171" sldId="2076136540"/>
            <ac:picMk id="10" creationId="{6068AC52-F4B6-434D-AFD3-393C42D53308}"/>
          </ac:picMkLst>
        </pc:picChg>
        <pc:picChg chg="mod">
          <ac:chgData name="Amber Weise" userId="3ca30e27-9a99-4c36-a22b-2cf2c031f50a" providerId="ADAL" clId="{12D41955-D03E-4387-8E70-1917F2831F81}" dt="2020-02-24T15:44:19.150" v="663" actId="1076"/>
          <ac:picMkLst>
            <pc:docMk/>
            <pc:sldMk cId="692092171" sldId="2076136540"/>
            <ac:picMk id="12" creationId="{9B8745DC-DA53-4398-882E-9A84E8858E11}"/>
          </ac:picMkLst>
        </pc:picChg>
        <pc:picChg chg="mod">
          <ac:chgData name="Amber Weise" userId="3ca30e27-9a99-4c36-a22b-2cf2c031f50a" providerId="ADAL" clId="{12D41955-D03E-4387-8E70-1917F2831F81}" dt="2020-02-24T15:44:27.003" v="665" actId="1076"/>
          <ac:picMkLst>
            <pc:docMk/>
            <pc:sldMk cId="692092171" sldId="2076136540"/>
            <ac:picMk id="15" creationId="{8F660D81-E315-4014-A398-3CDCF44CA2E8}"/>
          </ac:picMkLst>
        </pc:picChg>
      </pc:sldChg>
    </pc:docChg>
  </pc:docChgLst>
  <pc:docChgLst>
    <pc:chgData name="Yvonne Hamilton" userId="d4c2c114-0be8-4b0d-836d-cedba23cf6cf" providerId="ADAL" clId="{2D07E8D8-DA69-45FC-9E73-156F518781AF}"/>
    <pc:docChg chg="delSld modSection">
      <pc:chgData name="Yvonne Hamilton" userId="d4c2c114-0be8-4b0d-836d-cedba23cf6cf" providerId="ADAL" clId="{2D07E8D8-DA69-45FC-9E73-156F518781AF}" dt="2020-07-07T19:50:11.116" v="0" actId="47"/>
      <pc:docMkLst>
        <pc:docMk/>
      </pc:docMkLst>
      <pc:sldChg chg="del">
        <pc:chgData name="Yvonne Hamilton" userId="d4c2c114-0be8-4b0d-836d-cedba23cf6cf" providerId="ADAL" clId="{2D07E8D8-DA69-45FC-9E73-156F518781AF}" dt="2020-07-07T19:50:11.116" v="0" actId="47"/>
        <pc:sldMkLst>
          <pc:docMk/>
          <pc:sldMk cId="2230852389" sldId="2076136560"/>
        </pc:sldMkLst>
      </pc:sldChg>
    </pc:docChg>
  </pc:docChgLst>
  <pc:docChgLst>
    <pc:chgData name="Aurelia Etlin" userId="17c626bb-ce18-4079-8178-d87f0118134e" providerId="ADAL" clId="{9684D8FF-B5F8-44FF-9A64-760426256ECB}"/>
    <pc:docChg chg="undo redo custSel mod addSld delSld modSld modMainMaster addSection modSection">
      <pc:chgData name="Aurelia Etlin" userId="17c626bb-ce18-4079-8178-d87f0118134e" providerId="ADAL" clId="{9684D8FF-B5F8-44FF-9A64-760426256ECB}" dt="2019-12-17T22:43:05.574" v="2710"/>
      <pc:docMkLst>
        <pc:docMk/>
      </pc:docMkLst>
      <pc:sldChg chg="add del modCm">
        <pc:chgData name="Aurelia Etlin" userId="17c626bb-ce18-4079-8178-d87f0118134e" providerId="ADAL" clId="{9684D8FF-B5F8-44FF-9A64-760426256ECB}" dt="2019-12-13T02:09:13.288" v="151" actId="47"/>
        <pc:sldMkLst>
          <pc:docMk/>
          <pc:sldMk cId="109857222" sldId="256"/>
        </pc:sldMkLst>
      </pc:sldChg>
      <pc:sldChg chg="addSp delSp modSp">
        <pc:chgData name="Aurelia Etlin" userId="17c626bb-ce18-4079-8178-d87f0118134e" providerId="ADAL" clId="{9684D8FF-B5F8-44FF-9A64-760426256ECB}" dt="2019-12-13T13:14:31.946" v="490" actId="14100"/>
        <pc:sldMkLst>
          <pc:docMk/>
          <pc:sldMk cId="1426034815" sldId="258"/>
        </pc:sldMkLst>
        <pc:spChg chg="add del">
          <ac:chgData name="Aurelia Etlin" userId="17c626bb-ce18-4079-8178-d87f0118134e" providerId="ADAL" clId="{9684D8FF-B5F8-44FF-9A64-760426256ECB}" dt="2019-12-13T13:10:11.599" v="476" actId="478"/>
          <ac:spMkLst>
            <pc:docMk/>
            <pc:sldMk cId="1426034815" sldId="258"/>
            <ac:spMk id="10" creationId="{EE89E3D1-D154-4911-A750-6D04922E2B62}"/>
          </ac:spMkLst>
        </pc:spChg>
        <pc:spChg chg="add del mod">
          <ac:chgData name="Aurelia Etlin" userId="17c626bb-ce18-4079-8178-d87f0118134e" providerId="ADAL" clId="{9684D8FF-B5F8-44FF-9A64-760426256ECB}" dt="2019-12-13T13:13:24.481" v="486" actId="1076"/>
          <ac:spMkLst>
            <pc:docMk/>
            <pc:sldMk cId="1426034815" sldId="258"/>
            <ac:spMk id="11" creationId="{9B2992DC-3CE5-406D-95A7-61A15877F38F}"/>
          </ac:spMkLst>
        </pc:spChg>
        <pc:spChg chg="add mod">
          <ac:chgData name="Aurelia Etlin" userId="17c626bb-ce18-4079-8178-d87f0118134e" providerId="ADAL" clId="{9684D8FF-B5F8-44FF-9A64-760426256ECB}" dt="2019-12-13T13:14:31.946" v="490" actId="14100"/>
          <ac:spMkLst>
            <pc:docMk/>
            <pc:sldMk cId="1426034815" sldId="258"/>
            <ac:spMk id="20" creationId="{B4DB820D-7C25-4976-BE9D-50EDD6050043}"/>
          </ac:spMkLst>
        </pc:spChg>
        <pc:grpChg chg="mod">
          <ac:chgData name="Aurelia Etlin" userId="17c626bb-ce18-4079-8178-d87f0118134e" providerId="ADAL" clId="{9684D8FF-B5F8-44FF-9A64-760426256ECB}" dt="2019-12-13T13:13:54.838" v="488" actId="1076"/>
          <ac:grpSpMkLst>
            <pc:docMk/>
            <pc:sldMk cId="1426034815" sldId="258"/>
            <ac:grpSpMk id="9" creationId="{718AE9AE-C288-4317-8845-302E2F30FE47}"/>
          </ac:grpSpMkLst>
        </pc:grpChg>
        <pc:grpChg chg="mod">
          <ac:chgData name="Aurelia Etlin" userId="17c626bb-ce18-4079-8178-d87f0118134e" providerId="ADAL" clId="{9684D8FF-B5F8-44FF-9A64-760426256ECB}" dt="2019-12-13T13:13:14.426" v="484" actId="1076"/>
          <ac:grpSpMkLst>
            <pc:docMk/>
            <pc:sldMk cId="1426034815" sldId="258"/>
            <ac:grpSpMk id="15" creationId="{022D06D6-9D4F-4D5B-8A8A-1FDEA890432E}"/>
          </ac:grpSpMkLst>
        </pc:grpChg>
        <pc:graphicFrameChg chg="add del mod">
          <ac:chgData name="Aurelia Etlin" userId="17c626bb-ce18-4079-8178-d87f0118134e" providerId="ADAL" clId="{9684D8FF-B5F8-44FF-9A64-760426256ECB}" dt="2019-12-13T13:08:43.994" v="463" actId="478"/>
          <ac:graphicFrameMkLst>
            <pc:docMk/>
            <pc:sldMk cId="1426034815" sldId="258"/>
            <ac:graphicFrameMk id="3" creationId="{8011081E-62C4-46AB-99A1-EA8B6714A3D4}"/>
          </ac:graphicFrameMkLst>
        </pc:graphicFrameChg>
        <pc:inkChg chg="add del">
          <ac:chgData name="Aurelia Etlin" userId="17c626bb-ce18-4079-8178-d87f0118134e" providerId="ADAL" clId="{9684D8FF-B5F8-44FF-9A64-760426256ECB}" dt="2019-12-13T13:09:17.959" v="469"/>
          <ac:inkMkLst>
            <pc:docMk/>
            <pc:sldMk cId="1426034815" sldId="258"/>
            <ac:inkMk id="12" creationId="{DF972EE8-DF6C-47CE-81AB-A87838203BF2}"/>
          </ac:inkMkLst>
        </pc:inkChg>
        <pc:inkChg chg="add del">
          <ac:chgData name="Aurelia Etlin" userId="17c626bb-ce18-4079-8178-d87f0118134e" providerId="ADAL" clId="{9684D8FF-B5F8-44FF-9A64-760426256ECB}" dt="2019-12-13T13:09:17.348" v="467"/>
          <ac:inkMkLst>
            <pc:docMk/>
            <pc:sldMk cId="1426034815" sldId="258"/>
            <ac:inkMk id="16" creationId="{B6B2BDC5-91BD-4E2D-8866-26DD6A2C911F}"/>
          </ac:inkMkLst>
        </pc:inkChg>
        <pc:inkChg chg="add del">
          <ac:chgData name="Aurelia Etlin" userId="17c626bb-ce18-4079-8178-d87f0118134e" providerId="ADAL" clId="{9684D8FF-B5F8-44FF-9A64-760426256ECB}" dt="2019-12-13T13:09:17.350" v="468"/>
          <ac:inkMkLst>
            <pc:docMk/>
            <pc:sldMk cId="1426034815" sldId="258"/>
            <ac:inkMk id="17" creationId="{1222F26E-5417-4339-B170-9A83AD4570C6}"/>
          </ac:inkMkLst>
        </pc:inkChg>
        <pc:cxnChg chg="add del mod">
          <ac:chgData name="Aurelia Etlin" userId="17c626bb-ce18-4079-8178-d87f0118134e" providerId="ADAL" clId="{9684D8FF-B5F8-44FF-9A64-760426256ECB}" dt="2019-12-13T13:12:54.183" v="481" actId="478"/>
          <ac:cxnSpMkLst>
            <pc:docMk/>
            <pc:sldMk cId="1426034815" sldId="258"/>
            <ac:cxnSpMk id="19" creationId="{08744F45-5F81-42D4-BA5E-CFFC067CC8B6}"/>
          </ac:cxnSpMkLst>
        </pc:cxnChg>
      </pc:sldChg>
      <pc:sldChg chg="addSp delSp modSp mod setBg">
        <pc:chgData name="Aurelia Etlin" userId="17c626bb-ce18-4079-8178-d87f0118134e" providerId="ADAL" clId="{9684D8FF-B5F8-44FF-9A64-760426256ECB}" dt="2019-12-13T13:15:41.403" v="493" actId="26606"/>
        <pc:sldMkLst>
          <pc:docMk/>
          <pc:sldMk cId="1757301464" sldId="259"/>
        </pc:sldMkLst>
        <pc:spChg chg="mod">
          <ac:chgData name="Aurelia Etlin" userId="17c626bb-ce18-4079-8178-d87f0118134e" providerId="ADAL" clId="{9684D8FF-B5F8-44FF-9A64-760426256ECB}" dt="2019-12-13T13:15:41.403" v="493" actId="26606"/>
          <ac:spMkLst>
            <pc:docMk/>
            <pc:sldMk cId="1757301464" sldId="259"/>
            <ac:spMk id="2" creationId="{890AF9ED-12F0-4BAC-88C7-19E5631017ED}"/>
          </ac:spMkLst>
        </pc:spChg>
        <pc:spChg chg="del">
          <ac:chgData name="Aurelia Etlin" userId="17c626bb-ce18-4079-8178-d87f0118134e" providerId="ADAL" clId="{9684D8FF-B5F8-44FF-9A64-760426256ECB}" dt="2019-12-13T13:15:20.716" v="491" actId="26606"/>
          <ac:spMkLst>
            <pc:docMk/>
            <pc:sldMk cId="1757301464" sldId="259"/>
            <ac:spMk id="3" creationId="{F5330C12-610F-4CDF-AB3B-DC8B4E1D4467}"/>
          </ac:spMkLst>
        </pc:spChg>
        <pc:spChg chg="mod">
          <ac:chgData name="Aurelia Etlin" userId="17c626bb-ce18-4079-8178-d87f0118134e" providerId="ADAL" clId="{9684D8FF-B5F8-44FF-9A64-760426256ECB}" dt="2019-12-13T13:15:27.723" v="492" actId="20577"/>
          <ac:spMkLst>
            <pc:docMk/>
            <pc:sldMk cId="1757301464" sldId="259"/>
            <ac:spMk id="4" creationId="{2FB3EE5B-B10D-4135-B4D1-8D3CAFDB21F4}"/>
          </ac:spMkLst>
        </pc:spChg>
        <pc:graphicFrameChg chg="add mod modGraphic">
          <ac:chgData name="Aurelia Etlin" userId="17c626bb-ce18-4079-8178-d87f0118134e" providerId="ADAL" clId="{9684D8FF-B5F8-44FF-9A64-760426256ECB}" dt="2019-12-13T13:15:41.403" v="493" actId="26606"/>
          <ac:graphicFrameMkLst>
            <pc:docMk/>
            <pc:sldMk cId="1757301464" sldId="259"/>
            <ac:graphicFrameMk id="6" creationId="{CE40FCF6-36E1-419E-9492-06392C0F0C06}"/>
          </ac:graphicFrameMkLst>
        </pc:graphicFrameChg>
      </pc:sldChg>
      <pc:sldChg chg="delSp modSp del">
        <pc:chgData name="Aurelia Etlin" userId="17c626bb-ce18-4079-8178-d87f0118134e" providerId="ADAL" clId="{9684D8FF-B5F8-44FF-9A64-760426256ECB}" dt="2019-12-13T13:23:50.264" v="594" actId="47"/>
        <pc:sldMkLst>
          <pc:docMk/>
          <pc:sldMk cId="877970249" sldId="260"/>
        </pc:sldMkLst>
        <pc:spChg chg="mod">
          <ac:chgData name="Aurelia Etlin" userId="17c626bb-ce18-4079-8178-d87f0118134e" providerId="ADAL" clId="{9684D8FF-B5F8-44FF-9A64-760426256ECB}" dt="2019-12-13T13:17:48.283" v="507" actId="20577"/>
          <ac:spMkLst>
            <pc:docMk/>
            <pc:sldMk cId="877970249" sldId="260"/>
            <ac:spMk id="2" creationId="{890AF9ED-12F0-4BAC-88C7-19E5631017ED}"/>
          </ac:spMkLst>
        </pc:spChg>
        <pc:spChg chg="mod">
          <ac:chgData name="Aurelia Etlin" userId="17c626bb-ce18-4079-8178-d87f0118134e" providerId="ADAL" clId="{9684D8FF-B5F8-44FF-9A64-760426256ECB}" dt="2019-12-13T13:17:15.795" v="498" actId="1076"/>
          <ac:spMkLst>
            <pc:docMk/>
            <pc:sldMk cId="877970249" sldId="260"/>
            <ac:spMk id="3" creationId="{F5330C12-610F-4CDF-AB3B-DC8B4E1D4467}"/>
          </ac:spMkLst>
        </pc:spChg>
        <pc:spChg chg="mod">
          <ac:chgData name="Aurelia Etlin" userId="17c626bb-ce18-4079-8178-d87f0118134e" providerId="ADAL" clId="{9684D8FF-B5F8-44FF-9A64-760426256ECB}" dt="2019-12-13T13:17:15.795" v="498" actId="1076"/>
          <ac:spMkLst>
            <pc:docMk/>
            <pc:sldMk cId="877970249" sldId="260"/>
            <ac:spMk id="4" creationId="{2FB3EE5B-B10D-4135-B4D1-8D3CAFDB21F4}"/>
          </ac:spMkLst>
        </pc:spChg>
        <pc:spChg chg="del">
          <ac:chgData name="Aurelia Etlin" userId="17c626bb-ce18-4079-8178-d87f0118134e" providerId="ADAL" clId="{9684D8FF-B5F8-44FF-9A64-760426256ECB}" dt="2019-12-13T13:16:46.713" v="497" actId="478"/>
          <ac:spMkLst>
            <pc:docMk/>
            <pc:sldMk cId="877970249" sldId="260"/>
            <ac:spMk id="6" creationId="{52AA9AFB-A009-4D95-90D3-570EAC0166D9}"/>
          </ac:spMkLst>
        </pc:spChg>
        <pc:spChg chg="del">
          <ac:chgData name="Aurelia Etlin" userId="17c626bb-ce18-4079-8178-d87f0118134e" providerId="ADAL" clId="{9684D8FF-B5F8-44FF-9A64-760426256ECB}" dt="2019-12-13T13:16:46.713" v="497" actId="478"/>
          <ac:spMkLst>
            <pc:docMk/>
            <pc:sldMk cId="877970249" sldId="260"/>
            <ac:spMk id="8" creationId="{94E9E009-CC95-4BFF-B114-665288B27FC5}"/>
          </ac:spMkLst>
        </pc:spChg>
        <pc:spChg chg="del">
          <ac:chgData name="Aurelia Etlin" userId="17c626bb-ce18-4079-8178-d87f0118134e" providerId="ADAL" clId="{9684D8FF-B5F8-44FF-9A64-760426256ECB}" dt="2019-12-13T13:16:46.713" v="497" actId="478"/>
          <ac:spMkLst>
            <pc:docMk/>
            <pc:sldMk cId="877970249" sldId="260"/>
            <ac:spMk id="10" creationId="{268B852F-3E56-4864-BE52-49328C0D3273}"/>
          </ac:spMkLst>
        </pc:spChg>
        <pc:spChg chg="del">
          <ac:chgData name="Aurelia Etlin" userId="17c626bb-ce18-4079-8178-d87f0118134e" providerId="ADAL" clId="{9684D8FF-B5F8-44FF-9A64-760426256ECB}" dt="2019-12-13T13:16:46.713" v="497" actId="478"/>
          <ac:spMkLst>
            <pc:docMk/>
            <pc:sldMk cId="877970249" sldId="260"/>
            <ac:spMk id="12" creationId="{2920B6DA-185C-4DB4-9EED-59C4FA011225}"/>
          </ac:spMkLst>
        </pc:spChg>
        <pc:picChg chg="del">
          <ac:chgData name="Aurelia Etlin" userId="17c626bb-ce18-4079-8178-d87f0118134e" providerId="ADAL" clId="{9684D8FF-B5F8-44FF-9A64-760426256ECB}" dt="2019-12-13T13:16:46.713" v="497" actId="478"/>
          <ac:picMkLst>
            <pc:docMk/>
            <pc:sldMk cId="877970249" sldId="260"/>
            <ac:picMk id="5" creationId="{F13230B7-C301-4EB0-AA8C-AB631A8D04D8}"/>
          </ac:picMkLst>
        </pc:picChg>
        <pc:picChg chg="del">
          <ac:chgData name="Aurelia Etlin" userId="17c626bb-ce18-4079-8178-d87f0118134e" providerId="ADAL" clId="{9684D8FF-B5F8-44FF-9A64-760426256ECB}" dt="2019-12-13T13:16:46.713" v="497" actId="478"/>
          <ac:picMkLst>
            <pc:docMk/>
            <pc:sldMk cId="877970249" sldId="260"/>
            <ac:picMk id="7" creationId="{022BB86E-16BD-40F7-AE54-005280E1AF28}"/>
          </ac:picMkLst>
        </pc:picChg>
        <pc:picChg chg="del">
          <ac:chgData name="Aurelia Etlin" userId="17c626bb-ce18-4079-8178-d87f0118134e" providerId="ADAL" clId="{9684D8FF-B5F8-44FF-9A64-760426256ECB}" dt="2019-12-13T13:16:46.713" v="497" actId="478"/>
          <ac:picMkLst>
            <pc:docMk/>
            <pc:sldMk cId="877970249" sldId="260"/>
            <ac:picMk id="9" creationId="{BACB78B8-0D87-4678-B0A9-FB137953882F}"/>
          </ac:picMkLst>
        </pc:picChg>
        <pc:picChg chg="del">
          <ac:chgData name="Aurelia Etlin" userId="17c626bb-ce18-4079-8178-d87f0118134e" providerId="ADAL" clId="{9684D8FF-B5F8-44FF-9A64-760426256ECB}" dt="2019-12-13T13:16:46.713" v="497" actId="478"/>
          <ac:picMkLst>
            <pc:docMk/>
            <pc:sldMk cId="877970249" sldId="260"/>
            <ac:picMk id="11" creationId="{6AA7686E-6FE1-4535-927F-35EA8688C111}"/>
          </ac:picMkLst>
        </pc:picChg>
      </pc:sldChg>
      <pc:sldChg chg="addSp modSp">
        <pc:chgData name="Aurelia Etlin" userId="17c626bb-ce18-4079-8178-d87f0118134e" providerId="ADAL" clId="{9684D8FF-B5F8-44FF-9A64-760426256ECB}" dt="2019-12-13T15:50:24.262" v="699" actId="1076"/>
        <pc:sldMkLst>
          <pc:docMk/>
          <pc:sldMk cId="3906434785" sldId="261"/>
        </pc:sldMkLst>
        <pc:spChg chg="mod">
          <ac:chgData name="Aurelia Etlin" userId="17c626bb-ce18-4079-8178-d87f0118134e" providerId="ADAL" clId="{9684D8FF-B5F8-44FF-9A64-760426256ECB}" dt="2019-12-13T15:49:24.128" v="688" actId="20577"/>
          <ac:spMkLst>
            <pc:docMk/>
            <pc:sldMk cId="3906434785" sldId="261"/>
            <ac:spMk id="2" creationId="{890AF9ED-12F0-4BAC-88C7-19E5631017ED}"/>
          </ac:spMkLst>
        </pc:spChg>
        <pc:picChg chg="add mod">
          <ac:chgData name="Aurelia Etlin" userId="17c626bb-ce18-4079-8178-d87f0118134e" providerId="ADAL" clId="{9684D8FF-B5F8-44FF-9A64-760426256ECB}" dt="2019-12-13T15:50:24.262" v="699" actId="1076"/>
          <ac:picMkLst>
            <pc:docMk/>
            <pc:sldMk cId="3906434785" sldId="261"/>
            <ac:picMk id="5122" creationId="{CAEFDC60-A9DC-4DCD-B145-F276722E398F}"/>
          </ac:picMkLst>
        </pc:picChg>
      </pc:sldChg>
      <pc:sldChg chg="addSp delSp modSp add del delAnim modAnim modNotesTx">
        <pc:chgData name="Aurelia Etlin" userId="17c626bb-ce18-4079-8178-d87f0118134e" providerId="ADAL" clId="{9684D8FF-B5F8-44FF-9A64-760426256ECB}" dt="2019-12-13T22:29:15.245" v="1616" actId="20577"/>
        <pc:sldMkLst>
          <pc:docMk/>
          <pc:sldMk cId="1756818721" sldId="262"/>
        </pc:sldMkLst>
        <pc:spChg chg="mod">
          <ac:chgData name="Aurelia Etlin" userId="17c626bb-ce18-4079-8178-d87f0118134e" providerId="ADAL" clId="{9684D8FF-B5F8-44FF-9A64-760426256ECB}" dt="2019-12-13T20:48:46.656" v="1094" actId="20577"/>
          <ac:spMkLst>
            <pc:docMk/>
            <pc:sldMk cId="1756818721" sldId="262"/>
            <ac:spMk id="2" creationId="{890AF9ED-12F0-4BAC-88C7-19E5631017ED}"/>
          </ac:spMkLst>
        </pc:spChg>
        <pc:spChg chg="del">
          <ac:chgData name="Aurelia Etlin" userId="17c626bb-ce18-4079-8178-d87f0118134e" providerId="ADAL" clId="{9684D8FF-B5F8-44FF-9A64-760426256ECB}" dt="2019-12-13T21:14:18.936" v="1595" actId="478"/>
          <ac:spMkLst>
            <pc:docMk/>
            <pc:sldMk cId="1756818721" sldId="262"/>
            <ac:spMk id="3" creationId="{F5330C12-610F-4CDF-AB3B-DC8B4E1D4467}"/>
          </ac:spMkLst>
        </pc:spChg>
        <pc:spChg chg="mod">
          <ac:chgData name="Aurelia Etlin" userId="17c626bb-ce18-4079-8178-d87f0118134e" providerId="ADAL" clId="{9684D8FF-B5F8-44FF-9A64-760426256ECB}" dt="2019-12-13T21:14:56.689" v="1606" actId="14100"/>
          <ac:spMkLst>
            <pc:docMk/>
            <pc:sldMk cId="1756818721" sldId="262"/>
            <ac:spMk id="4" creationId="{2FB3EE5B-B10D-4135-B4D1-8D3CAFDB21F4}"/>
          </ac:spMkLst>
        </pc:spChg>
        <pc:spChg chg="del mod">
          <ac:chgData name="Aurelia Etlin" userId="17c626bb-ce18-4079-8178-d87f0118134e" providerId="ADAL" clId="{9684D8FF-B5F8-44FF-9A64-760426256ECB}" dt="2019-12-13T21:14:15.320" v="1594" actId="478"/>
          <ac:spMkLst>
            <pc:docMk/>
            <pc:sldMk cId="1756818721" sldId="262"/>
            <ac:spMk id="5" creationId="{224DE9AF-75EE-4414-A712-A400C1ED0971}"/>
          </ac:spMkLst>
        </pc:spChg>
        <pc:spChg chg="del">
          <ac:chgData name="Aurelia Etlin" userId="17c626bb-ce18-4079-8178-d87f0118134e" providerId="ADAL" clId="{9684D8FF-B5F8-44FF-9A64-760426256ECB}" dt="2019-12-13T21:14:15.320" v="1594" actId="478"/>
          <ac:spMkLst>
            <pc:docMk/>
            <pc:sldMk cId="1756818721" sldId="262"/>
            <ac:spMk id="6" creationId="{E8DC89AB-D8B4-43D8-9B15-A369E047184B}"/>
          </ac:spMkLst>
        </pc:spChg>
        <pc:spChg chg="del">
          <ac:chgData name="Aurelia Etlin" userId="17c626bb-ce18-4079-8178-d87f0118134e" providerId="ADAL" clId="{9684D8FF-B5F8-44FF-9A64-760426256ECB}" dt="2019-12-13T21:14:15.320" v="1594" actId="478"/>
          <ac:spMkLst>
            <pc:docMk/>
            <pc:sldMk cId="1756818721" sldId="262"/>
            <ac:spMk id="7" creationId="{B0B42882-3AD4-40BE-BD79-F484526ECAF6}"/>
          </ac:spMkLst>
        </pc:spChg>
        <pc:spChg chg="del">
          <ac:chgData name="Aurelia Etlin" userId="17c626bb-ce18-4079-8178-d87f0118134e" providerId="ADAL" clId="{9684D8FF-B5F8-44FF-9A64-760426256ECB}" dt="2019-12-13T21:14:15.320" v="1594" actId="478"/>
          <ac:spMkLst>
            <pc:docMk/>
            <pc:sldMk cId="1756818721" sldId="262"/>
            <ac:spMk id="8" creationId="{965D2C10-C73A-425A-AAA6-062D76AD14E1}"/>
          </ac:spMkLst>
        </pc:spChg>
        <pc:spChg chg="del">
          <ac:chgData name="Aurelia Etlin" userId="17c626bb-ce18-4079-8178-d87f0118134e" providerId="ADAL" clId="{9684D8FF-B5F8-44FF-9A64-760426256ECB}" dt="2019-12-13T21:14:15.320" v="1594" actId="478"/>
          <ac:spMkLst>
            <pc:docMk/>
            <pc:sldMk cId="1756818721" sldId="262"/>
            <ac:spMk id="9" creationId="{5E5DA64F-FD5B-4403-88A8-F888FCB8E378}"/>
          </ac:spMkLst>
        </pc:spChg>
        <pc:spChg chg="del">
          <ac:chgData name="Aurelia Etlin" userId="17c626bb-ce18-4079-8178-d87f0118134e" providerId="ADAL" clId="{9684D8FF-B5F8-44FF-9A64-760426256ECB}" dt="2019-12-13T21:09:21.496" v="1204" actId="478"/>
          <ac:spMkLst>
            <pc:docMk/>
            <pc:sldMk cId="1756818721" sldId="262"/>
            <ac:spMk id="10" creationId="{EB64BAD7-A8E2-42CF-97C3-BFB3E6C95E08}"/>
          </ac:spMkLst>
        </pc:spChg>
        <pc:spChg chg="mod">
          <ac:chgData name="Aurelia Etlin" userId="17c626bb-ce18-4079-8178-d87f0118134e" providerId="ADAL" clId="{9684D8FF-B5F8-44FF-9A64-760426256ECB}" dt="2019-12-13T21:09:31.044" v="1213" actId="20577"/>
          <ac:spMkLst>
            <pc:docMk/>
            <pc:sldMk cId="1756818721" sldId="262"/>
            <ac:spMk id="11" creationId="{51CC8504-AC52-47D0-8457-C2BD8ED71908}"/>
          </ac:spMkLst>
        </pc:spChg>
        <pc:spChg chg="add mod">
          <ac:chgData name="Aurelia Etlin" userId="17c626bb-ce18-4079-8178-d87f0118134e" providerId="ADAL" clId="{9684D8FF-B5F8-44FF-9A64-760426256ECB}" dt="2019-12-13T22:29:15.245" v="1616" actId="20577"/>
          <ac:spMkLst>
            <pc:docMk/>
            <pc:sldMk cId="1756818721" sldId="262"/>
            <ac:spMk id="15" creationId="{DF4C485A-3978-48FC-8590-2D0176C6E94D}"/>
          </ac:spMkLst>
        </pc:spChg>
        <pc:spChg chg="add del">
          <ac:chgData name="Aurelia Etlin" userId="17c626bb-ce18-4079-8178-d87f0118134e" providerId="ADAL" clId="{9684D8FF-B5F8-44FF-9A64-760426256ECB}" dt="2019-12-13T21:11:51.529" v="1224"/>
          <ac:spMkLst>
            <pc:docMk/>
            <pc:sldMk cId="1756818721" sldId="262"/>
            <ac:spMk id="58" creationId="{98F74C27-BC32-486B-817E-F21B0695AA22}"/>
          </ac:spMkLst>
        </pc:spChg>
        <pc:spChg chg="add del">
          <ac:chgData name="Aurelia Etlin" userId="17c626bb-ce18-4079-8178-d87f0118134e" providerId="ADAL" clId="{9684D8FF-B5F8-44FF-9A64-760426256ECB}" dt="2019-12-13T21:11:51.529" v="1224"/>
          <ac:spMkLst>
            <pc:docMk/>
            <pc:sldMk cId="1756818721" sldId="262"/>
            <ac:spMk id="64" creationId="{F554633B-737D-46C1-B23A-E127BADA2D03}"/>
          </ac:spMkLst>
        </pc:spChg>
        <pc:spChg chg="add del">
          <ac:chgData name="Aurelia Etlin" userId="17c626bb-ce18-4079-8178-d87f0118134e" providerId="ADAL" clId="{9684D8FF-B5F8-44FF-9A64-760426256ECB}" dt="2019-12-13T21:11:51.529" v="1224"/>
          <ac:spMkLst>
            <pc:docMk/>
            <pc:sldMk cId="1756818721" sldId="262"/>
            <ac:spMk id="65" creationId="{4B7F03BD-9272-4F24-8193-21D42B90C9B1}"/>
          </ac:spMkLst>
        </pc:spChg>
        <pc:spChg chg="add del">
          <ac:chgData name="Aurelia Etlin" userId="17c626bb-ce18-4079-8178-d87f0118134e" providerId="ADAL" clId="{9684D8FF-B5F8-44FF-9A64-760426256ECB}" dt="2019-12-13T21:11:51.529" v="1224"/>
          <ac:spMkLst>
            <pc:docMk/>
            <pc:sldMk cId="1756818721" sldId="262"/>
            <ac:spMk id="66" creationId="{08BB9500-E605-4994-823E-3AE82478A331}"/>
          </ac:spMkLst>
        </pc:spChg>
        <pc:spChg chg="add del">
          <ac:chgData name="Aurelia Etlin" userId="17c626bb-ce18-4079-8178-d87f0118134e" providerId="ADAL" clId="{9684D8FF-B5F8-44FF-9A64-760426256ECB}" dt="2019-12-13T21:11:51.529" v="1224"/>
          <ac:spMkLst>
            <pc:docMk/>
            <pc:sldMk cId="1756818721" sldId="262"/>
            <ac:spMk id="67" creationId="{2138CAF1-15E0-42DA-8608-5020BDA8CFEB}"/>
          </ac:spMkLst>
        </pc:spChg>
        <pc:spChg chg="add del">
          <ac:chgData name="Aurelia Etlin" userId="17c626bb-ce18-4079-8178-d87f0118134e" providerId="ADAL" clId="{9684D8FF-B5F8-44FF-9A64-760426256ECB}" dt="2019-12-13T21:11:51.529" v="1224"/>
          <ac:spMkLst>
            <pc:docMk/>
            <pc:sldMk cId="1756818721" sldId="262"/>
            <ac:spMk id="68" creationId="{966AAE55-FBFE-4079-BE59-BE9D77D9CC4A}"/>
          </ac:spMkLst>
        </pc:spChg>
        <pc:grpChg chg="del mod">
          <ac:chgData name="Aurelia Etlin" userId="17c626bb-ce18-4079-8178-d87f0118134e" providerId="ADAL" clId="{9684D8FF-B5F8-44FF-9A64-760426256ECB}" dt="2019-12-13T21:09:05.818" v="1194" actId="478"/>
          <ac:grpSpMkLst>
            <pc:docMk/>
            <pc:sldMk cId="1756818721" sldId="262"/>
            <ac:grpSpMk id="29" creationId="{B0F74405-AAA7-4ADE-8E08-7AB1E3EEBED4}"/>
          </ac:grpSpMkLst>
        </pc:grpChg>
        <pc:grpChg chg="del mod">
          <ac:chgData name="Aurelia Etlin" userId="17c626bb-ce18-4079-8178-d87f0118134e" providerId="ADAL" clId="{9684D8FF-B5F8-44FF-9A64-760426256ECB}" dt="2019-12-13T21:09:14.588" v="1201" actId="478"/>
          <ac:grpSpMkLst>
            <pc:docMk/>
            <pc:sldMk cId="1756818721" sldId="262"/>
            <ac:grpSpMk id="33" creationId="{82230BE2-1817-44F8-8646-F27DD0434DEA}"/>
          </ac:grpSpMkLst>
        </pc:grpChg>
        <pc:grpChg chg="del">
          <ac:chgData name="Aurelia Etlin" userId="17c626bb-ce18-4079-8178-d87f0118134e" providerId="ADAL" clId="{9684D8FF-B5F8-44FF-9A64-760426256ECB}" dt="2019-12-13T21:09:11.647" v="1198" actId="478"/>
          <ac:grpSpMkLst>
            <pc:docMk/>
            <pc:sldMk cId="1756818721" sldId="262"/>
            <ac:grpSpMk id="34" creationId="{074DB82C-381C-4BB4-81E4-C5C4E3F85DA2}"/>
          </ac:grpSpMkLst>
        </pc:grpChg>
        <pc:grpChg chg="del mod">
          <ac:chgData name="Aurelia Etlin" userId="17c626bb-ce18-4079-8178-d87f0118134e" providerId="ADAL" clId="{9684D8FF-B5F8-44FF-9A64-760426256ECB}" dt="2019-12-13T21:09:16.274" v="1202" actId="478"/>
          <ac:grpSpMkLst>
            <pc:docMk/>
            <pc:sldMk cId="1756818721" sldId="262"/>
            <ac:grpSpMk id="37" creationId="{FDA832E5-F59A-4A42-B98D-BDD93B903413}"/>
          </ac:grpSpMkLst>
        </pc:grpChg>
        <pc:grpChg chg="del">
          <ac:chgData name="Aurelia Etlin" userId="17c626bb-ce18-4079-8178-d87f0118134e" providerId="ADAL" clId="{9684D8FF-B5F8-44FF-9A64-760426256ECB}" dt="2019-12-13T21:09:10.459" v="1197" actId="478"/>
          <ac:grpSpMkLst>
            <pc:docMk/>
            <pc:sldMk cId="1756818721" sldId="262"/>
            <ac:grpSpMk id="45" creationId="{6C8D7622-D813-4FE0-B462-5AB56AA84BD4}"/>
          </ac:grpSpMkLst>
        </pc:grpChg>
        <pc:grpChg chg="del mod">
          <ac:chgData name="Aurelia Etlin" userId="17c626bb-ce18-4079-8178-d87f0118134e" providerId="ADAL" clId="{9684D8FF-B5F8-44FF-9A64-760426256ECB}" dt="2019-12-13T21:09:17.877" v="1203" actId="478"/>
          <ac:grpSpMkLst>
            <pc:docMk/>
            <pc:sldMk cId="1756818721" sldId="262"/>
            <ac:grpSpMk id="48" creationId="{196E79F1-9B2C-41EE-B4FF-E4553CDB0B7D}"/>
          </ac:grpSpMkLst>
        </pc:grpChg>
        <pc:grpChg chg="del mod">
          <ac:chgData name="Aurelia Etlin" userId="17c626bb-ce18-4079-8178-d87f0118134e" providerId="ADAL" clId="{9684D8FF-B5F8-44FF-9A64-760426256ECB}" dt="2019-12-13T21:09:04.609" v="1193" actId="478"/>
          <ac:grpSpMkLst>
            <pc:docMk/>
            <pc:sldMk cId="1756818721" sldId="262"/>
            <ac:grpSpMk id="56" creationId="{56DC17B4-255D-490A-8C08-169A796ECBE5}"/>
          </ac:grpSpMkLst>
        </pc:grpChg>
        <pc:grpChg chg="del">
          <ac:chgData name="Aurelia Etlin" userId="17c626bb-ce18-4079-8178-d87f0118134e" providerId="ADAL" clId="{9684D8FF-B5F8-44FF-9A64-760426256ECB}" dt="2019-12-13T21:09:08.807" v="1196" actId="478"/>
          <ac:grpSpMkLst>
            <pc:docMk/>
            <pc:sldMk cId="1756818721" sldId="262"/>
            <ac:grpSpMk id="57" creationId="{CD05946B-920F-4E37-AA2B-03E662C3750A}"/>
          </ac:grpSpMkLst>
        </pc:grpChg>
        <pc:picChg chg="del mod">
          <ac:chgData name="Aurelia Etlin" userId="17c626bb-ce18-4079-8178-d87f0118134e" providerId="ADAL" clId="{9684D8FF-B5F8-44FF-9A64-760426256ECB}" dt="2019-12-13T21:09:07.101" v="1195" actId="478"/>
          <ac:picMkLst>
            <pc:docMk/>
            <pc:sldMk cId="1756818721" sldId="262"/>
            <ac:picMk id="12" creationId="{D8EAAC5F-9A95-4C29-94FB-53F980BC0EDC}"/>
          </ac:picMkLst>
        </pc:picChg>
        <pc:picChg chg="del">
          <ac:chgData name="Aurelia Etlin" userId="17c626bb-ce18-4079-8178-d87f0118134e" providerId="ADAL" clId="{9684D8FF-B5F8-44FF-9A64-760426256ECB}" dt="2019-12-13T21:09:13.077" v="1199" actId="478"/>
          <ac:picMkLst>
            <pc:docMk/>
            <pc:sldMk cId="1756818721" sldId="262"/>
            <ac:picMk id="13" creationId="{81E838D6-C216-4E58-B850-5E422CFE5AC9}"/>
          </ac:picMkLst>
        </pc:picChg>
        <pc:picChg chg="del">
          <ac:chgData name="Aurelia Etlin" userId="17c626bb-ce18-4079-8178-d87f0118134e" providerId="ADAL" clId="{9684D8FF-B5F8-44FF-9A64-760426256ECB}" dt="2019-12-13T21:14:18.936" v="1595" actId="478"/>
          <ac:picMkLst>
            <pc:docMk/>
            <pc:sldMk cId="1756818721" sldId="262"/>
            <ac:picMk id="59" creationId="{6113B617-E43C-4058-BD3F-26779BD1A94E}"/>
          </ac:picMkLst>
        </pc:picChg>
        <pc:picChg chg="del">
          <ac:chgData name="Aurelia Etlin" userId="17c626bb-ce18-4079-8178-d87f0118134e" providerId="ADAL" clId="{9684D8FF-B5F8-44FF-9A64-760426256ECB}" dt="2019-12-13T21:14:18.936" v="1595" actId="478"/>
          <ac:picMkLst>
            <pc:docMk/>
            <pc:sldMk cId="1756818721" sldId="262"/>
            <ac:picMk id="60" creationId="{066C092A-0A8B-4190-AF79-2316B4DDC516}"/>
          </ac:picMkLst>
        </pc:picChg>
        <pc:picChg chg="del">
          <ac:chgData name="Aurelia Etlin" userId="17c626bb-ce18-4079-8178-d87f0118134e" providerId="ADAL" clId="{9684D8FF-B5F8-44FF-9A64-760426256ECB}" dt="2019-12-13T21:14:25.190" v="1598" actId="478"/>
          <ac:picMkLst>
            <pc:docMk/>
            <pc:sldMk cId="1756818721" sldId="262"/>
            <ac:picMk id="61" creationId="{CDBFA3FC-62E6-470D-9383-2B36D7F4BFDB}"/>
          </ac:picMkLst>
        </pc:picChg>
        <pc:picChg chg="del">
          <ac:chgData name="Aurelia Etlin" userId="17c626bb-ce18-4079-8178-d87f0118134e" providerId="ADAL" clId="{9684D8FF-B5F8-44FF-9A64-760426256ECB}" dt="2019-12-13T21:14:24.568" v="1597" actId="478"/>
          <ac:picMkLst>
            <pc:docMk/>
            <pc:sldMk cId="1756818721" sldId="262"/>
            <ac:picMk id="62" creationId="{8D371842-ADE6-4A52-9036-807F3048D596}"/>
          </ac:picMkLst>
        </pc:picChg>
        <pc:picChg chg="del">
          <ac:chgData name="Aurelia Etlin" userId="17c626bb-ce18-4079-8178-d87f0118134e" providerId="ADAL" clId="{9684D8FF-B5F8-44FF-9A64-760426256ECB}" dt="2019-12-13T21:14:23.725" v="1596" actId="478"/>
          <ac:picMkLst>
            <pc:docMk/>
            <pc:sldMk cId="1756818721" sldId="262"/>
            <ac:picMk id="63" creationId="{D2A7C33D-46C4-4C9F-8235-4CC62EA29DE2}"/>
          </ac:picMkLst>
        </pc:picChg>
        <pc:cxnChg chg="del">
          <ac:chgData name="Aurelia Etlin" userId="17c626bb-ce18-4079-8178-d87f0118134e" providerId="ADAL" clId="{9684D8FF-B5F8-44FF-9A64-760426256ECB}" dt="2019-12-13T21:09:58.267" v="1215" actId="478"/>
          <ac:cxnSpMkLst>
            <pc:docMk/>
            <pc:sldMk cId="1756818721" sldId="262"/>
            <ac:cxnSpMk id="23" creationId="{2C8CD108-3799-4905-AE06-6D9C06BFF53A}"/>
          </ac:cxnSpMkLst>
        </pc:cxnChg>
      </pc:sldChg>
      <pc:sldChg chg="addSp delSp modSp">
        <pc:chgData name="Aurelia Etlin" userId="17c626bb-ce18-4079-8178-d87f0118134e" providerId="ADAL" clId="{9684D8FF-B5F8-44FF-9A64-760426256ECB}" dt="2019-12-13T16:12:29.350" v="873" actId="1076"/>
        <pc:sldMkLst>
          <pc:docMk/>
          <pc:sldMk cId="2671256782" sldId="264"/>
        </pc:sldMkLst>
        <pc:spChg chg="del mod">
          <ac:chgData name="Aurelia Etlin" userId="17c626bb-ce18-4079-8178-d87f0118134e" providerId="ADAL" clId="{9684D8FF-B5F8-44FF-9A64-760426256ECB}" dt="2019-12-13T16:06:02.485" v="830" actId="478"/>
          <ac:spMkLst>
            <pc:docMk/>
            <pc:sldMk cId="2671256782" sldId="264"/>
            <ac:spMk id="3" creationId="{F5330C12-610F-4CDF-AB3B-DC8B4E1D4467}"/>
          </ac:spMkLst>
        </pc:spChg>
        <pc:spChg chg="add mod">
          <ac:chgData name="Aurelia Etlin" userId="17c626bb-ce18-4079-8178-d87f0118134e" providerId="ADAL" clId="{9684D8FF-B5F8-44FF-9A64-760426256ECB}" dt="2019-12-13T16:09:18.910" v="844" actId="14100"/>
          <ac:spMkLst>
            <pc:docMk/>
            <pc:sldMk cId="2671256782" sldId="264"/>
            <ac:spMk id="10" creationId="{32787A52-5C7C-4EB6-985E-C557BDB5426E}"/>
          </ac:spMkLst>
        </pc:spChg>
        <pc:spChg chg="add mod">
          <ac:chgData name="Aurelia Etlin" userId="17c626bb-ce18-4079-8178-d87f0118134e" providerId="ADAL" clId="{9684D8FF-B5F8-44FF-9A64-760426256ECB}" dt="2019-12-13T16:09:36.184" v="848" actId="1076"/>
          <ac:spMkLst>
            <pc:docMk/>
            <pc:sldMk cId="2671256782" sldId="264"/>
            <ac:spMk id="11" creationId="{62FBCEDE-15C2-4E9E-BC12-DACCD39D3D5B}"/>
          </ac:spMkLst>
        </pc:spChg>
        <pc:spChg chg="add mod">
          <ac:chgData name="Aurelia Etlin" userId="17c626bb-ce18-4079-8178-d87f0118134e" providerId="ADAL" clId="{9684D8FF-B5F8-44FF-9A64-760426256ECB}" dt="2019-12-13T16:10:20.615" v="856" actId="1076"/>
          <ac:spMkLst>
            <pc:docMk/>
            <pc:sldMk cId="2671256782" sldId="264"/>
            <ac:spMk id="12" creationId="{20B491FF-73B5-470E-93EF-CCEB9E30B86C}"/>
          </ac:spMkLst>
        </pc:spChg>
        <pc:picChg chg="mod">
          <ac:chgData name="Aurelia Etlin" userId="17c626bb-ce18-4079-8178-d87f0118134e" providerId="ADAL" clId="{9684D8FF-B5F8-44FF-9A64-760426256ECB}" dt="2019-12-13T16:12:29.350" v="873" actId="1076"/>
          <ac:picMkLst>
            <pc:docMk/>
            <pc:sldMk cId="2671256782" sldId="264"/>
            <ac:picMk id="5" creationId="{84C48040-4FC6-4B9A-BF06-AA8C35EA2AB4}"/>
          </ac:picMkLst>
        </pc:picChg>
        <pc:picChg chg="add mod">
          <ac:chgData name="Aurelia Etlin" userId="17c626bb-ce18-4079-8178-d87f0118134e" providerId="ADAL" clId="{9684D8FF-B5F8-44FF-9A64-760426256ECB}" dt="2019-12-13T16:09:08.010" v="842" actId="1076"/>
          <ac:picMkLst>
            <pc:docMk/>
            <pc:sldMk cId="2671256782" sldId="264"/>
            <ac:picMk id="7" creationId="{DBD579DD-438E-4FC5-83A1-38F6F8B6988F}"/>
          </ac:picMkLst>
        </pc:picChg>
        <pc:picChg chg="add mod">
          <ac:chgData name="Aurelia Etlin" userId="17c626bb-ce18-4079-8178-d87f0118134e" providerId="ADAL" clId="{9684D8FF-B5F8-44FF-9A64-760426256ECB}" dt="2019-12-13T16:09:25.406" v="845" actId="1076"/>
          <ac:picMkLst>
            <pc:docMk/>
            <pc:sldMk cId="2671256782" sldId="264"/>
            <ac:picMk id="9" creationId="{18E7A911-CE2E-40E6-BC39-0620DADEC123}"/>
          </ac:picMkLst>
        </pc:picChg>
      </pc:sldChg>
      <pc:sldChg chg="addSp delSp modSp mod setBg delDesignElem">
        <pc:chgData name="Aurelia Etlin" userId="17c626bb-ce18-4079-8178-d87f0118134e" providerId="ADAL" clId="{9684D8FF-B5F8-44FF-9A64-760426256ECB}" dt="2019-12-13T02:23:08.705" v="204" actId="207"/>
        <pc:sldMkLst>
          <pc:docMk/>
          <pc:sldMk cId="2401080152" sldId="267"/>
        </pc:sldMkLst>
        <pc:spChg chg="mod">
          <ac:chgData name="Aurelia Etlin" userId="17c626bb-ce18-4079-8178-d87f0118134e" providerId="ADAL" clId="{9684D8FF-B5F8-44FF-9A64-760426256ECB}" dt="2019-12-13T02:11:53.886" v="161" actId="26606"/>
          <ac:spMkLst>
            <pc:docMk/>
            <pc:sldMk cId="2401080152" sldId="267"/>
            <ac:spMk id="2" creationId="{99B1DD74-ECFF-4F6D-A99A-166E150EA5D9}"/>
          </ac:spMkLst>
        </pc:spChg>
        <pc:spChg chg="del">
          <ac:chgData name="Aurelia Etlin" userId="17c626bb-ce18-4079-8178-d87f0118134e" providerId="ADAL" clId="{9684D8FF-B5F8-44FF-9A64-760426256ECB}" dt="2019-12-13T02:11:19.801" v="156" actId="26606"/>
          <ac:spMkLst>
            <pc:docMk/>
            <pc:sldMk cId="2401080152" sldId="267"/>
            <ac:spMk id="3" creationId="{397EFE3C-103F-468B-BBA2-1D8E61F543BB}"/>
          </ac:spMkLst>
        </pc:spChg>
        <pc:spChg chg="mod">
          <ac:chgData name="Aurelia Etlin" userId="17c626bb-ce18-4079-8178-d87f0118134e" providerId="ADAL" clId="{9684D8FF-B5F8-44FF-9A64-760426256ECB}" dt="2019-12-13T02:22:37.225" v="200" actId="207"/>
          <ac:spMkLst>
            <pc:docMk/>
            <pc:sldMk cId="2401080152" sldId="267"/>
            <ac:spMk id="6" creationId="{C44C4FF3-4BE1-4477-A3B5-A830E8408F49}"/>
          </ac:spMkLst>
        </pc:spChg>
        <pc:spChg chg="add del">
          <ac:chgData name="Aurelia Etlin" userId="17c626bb-ce18-4079-8178-d87f0118134e" providerId="ADAL" clId="{9684D8FF-B5F8-44FF-9A64-760426256ECB}" dt="2019-12-13T02:11:53.817" v="160" actId="26606"/>
          <ac:spMkLst>
            <pc:docMk/>
            <pc:sldMk cId="2401080152" sldId="267"/>
            <ac:spMk id="7" creationId="{46C2E80F-49A6-4372-B103-219D417A55ED}"/>
          </ac:spMkLst>
        </pc:spChg>
        <pc:spChg chg="add">
          <ac:chgData name="Aurelia Etlin" userId="17c626bb-ce18-4079-8178-d87f0118134e" providerId="ADAL" clId="{9684D8FF-B5F8-44FF-9A64-760426256ECB}" dt="2019-12-13T02:11:53.886" v="161" actId="26606"/>
          <ac:spMkLst>
            <pc:docMk/>
            <pc:sldMk cId="2401080152" sldId="267"/>
            <ac:spMk id="9" creationId="{A5711A0E-A428-4ED1-96CB-33D69FD842E4}"/>
          </ac:spMkLst>
        </pc:spChg>
        <pc:spChg chg="add del">
          <ac:chgData name="Aurelia Etlin" userId="17c626bb-ce18-4079-8178-d87f0118134e" providerId="ADAL" clId="{9684D8FF-B5F8-44FF-9A64-760426256ECB}" dt="2019-12-13T02:11:32.139" v="158"/>
          <ac:spMkLst>
            <pc:docMk/>
            <pc:sldMk cId="2401080152" sldId="267"/>
            <ac:spMk id="10" creationId="{46C2E80F-49A6-4372-B103-219D417A55ED}"/>
          </ac:spMkLst>
        </pc:spChg>
        <pc:spChg chg="mod">
          <ac:chgData name="Aurelia Etlin" userId="17c626bb-ce18-4079-8178-d87f0118134e" providerId="ADAL" clId="{9684D8FF-B5F8-44FF-9A64-760426256ECB}" dt="2019-12-13T02:23:08.705" v="204" actId="207"/>
          <ac:spMkLst>
            <pc:docMk/>
            <pc:sldMk cId="2401080152" sldId="267"/>
            <ac:spMk id="12" creationId="{1E5135F5-D266-4B19-9251-88AA605E35E3}"/>
          </ac:spMkLst>
        </pc:spChg>
        <pc:spChg chg="mod ord">
          <ac:chgData name="Aurelia Etlin" userId="17c626bb-ce18-4079-8178-d87f0118134e" providerId="ADAL" clId="{9684D8FF-B5F8-44FF-9A64-760426256ECB}" dt="2019-12-13T02:19:16.379" v="196"/>
          <ac:spMkLst>
            <pc:docMk/>
            <pc:sldMk cId="2401080152" sldId="267"/>
            <ac:spMk id="13" creationId="{07F520C5-47A8-4077-BBCF-21D0F0DD27B6}"/>
          </ac:spMkLst>
        </pc:spChg>
        <pc:spChg chg="mod">
          <ac:chgData name="Aurelia Etlin" userId="17c626bb-ce18-4079-8178-d87f0118134e" providerId="ADAL" clId="{9684D8FF-B5F8-44FF-9A64-760426256ECB}" dt="2019-12-13T02:22:43.686" v="201" actId="207"/>
          <ac:spMkLst>
            <pc:docMk/>
            <pc:sldMk cId="2401080152" sldId="267"/>
            <ac:spMk id="15" creationId="{8639F217-1400-4F46-8F76-99526E142FC7}"/>
          </ac:spMkLst>
        </pc:spChg>
        <pc:spChg chg="mod">
          <ac:chgData name="Aurelia Etlin" userId="17c626bb-ce18-4079-8178-d87f0118134e" providerId="ADAL" clId="{9684D8FF-B5F8-44FF-9A64-760426256ECB}" dt="2019-12-13T02:23:04.054" v="203" actId="207"/>
          <ac:spMkLst>
            <pc:docMk/>
            <pc:sldMk cId="2401080152" sldId="267"/>
            <ac:spMk id="18" creationId="{4F40D723-1A0F-41FC-85D5-66A93BFAFD9C}"/>
          </ac:spMkLst>
        </pc:spChg>
        <pc:grpChg chg="mod">
          <ac:chgData name="Aurelia Etlin" userId="17c626bb-ce18-4079-8178-d87f0118134e" providerId="ADAL" clId="{9684D8FF-B5F8-44FF-9A64-760426256ECB}" dt="2019-12-13T02:16:16.319" v="184" actId="18245"/>
          <ac:grpSpMkLst>
            <pc:docMk/>
            <pc:sldMk cId="2401080152" sldId="267"/>
            <ac:grpSpMk id="4" creationId="{80FCEBD7-B8F2-4DE7-81B2-669AB7AD59B4}"/>
          </ac:grpSpMkLst>
        </pc:grpChg>
        <pc:graphicFrameChg chg="add del mod modGraphic">
          <ac:chgData name="Aurelia Etlin" userId="17c626bb-ce18-4079-8178-d87f0118134e" providerId="ADAL" clId="{9684D8FF-B5F8-44FF-9A64-760426256ECB}" dt="2019-12-13T02:16:16.319" v="184" actId="18245"/>
          <ac:graphicFrameMkLst>
            <pc:docMk/>
            <pc:sldMk cId="2401080152" sldId="267"/>
            <ac:graphicFrameMk id="5" creationId="{979EFD17-B672-477A-B074-E7F0BD1A8ACF}"/>
          </ac:graphicFrameMkLst>
        </pc:graphicFrameChg>
        <pc:picChg chg="add del mod">
          <ac:chgData name="Aurelia Etlin" userId="17c626bb-ce18-4079-8178-d87f0118134e" providerId="ADAL" clId="{9684D8FF-B5F8-44FF-9A64-760426256ECB}" dt="2019-12-13T02:22:51.942" v="202" actId="478"/>
          <ac:picMkLst>
            <pc:docMk/>
            <pc:sldMk cId="2401080152" sldId="267"/>
            <ac:picMk id="2050" creationId="{48A8E9EB-DFDD-4C4D-BAA3-29BA5CA3D69F}"/>
          </ac:picMkLst>
        </pc:picChg>
      </pc:sldChg>
      <pc:sldChg chg="addSp delSp modSp mod setBg modNotesTx">
        <pc:chgData name="Aurelia Etlin" userId="17c626bb-ce18-4079-8178-d87f0118134e" providerId="ADAL" clId="{9684D8FF-B5F8-44FF-9A64-760426256ECB}" dt="2019-12-13T12:51:06.241" v="333"/>
        <pc:sldMkLst>
          <pc:docMk/>
          <pc:sldMk cId="2445481854" sldId="269"/>
        </pc:sldMkLst>
        <pc:spChg chg="mod">
          <ac:chgData name="Aurelia Etlin" userId="17c626bb-ce18-4079-8178-d87f0118134e" providerId="ADAL" clId="{9684D8FF-B5F8-44FF-9A64-760426256ECB}" dt="2019-12-13T02:24:16.177" v="207" actId="26606"/>
          <ac:spMkLst>
            <pc:docMk/>
            <pc:sldMk cId="2445481854" sldId="269"/>
            <ac:spMk id="2" creationId="{99B1DD74-ECFF-4F6D-A99A-166E150EA5D9}"/>
          </ac:spMkLst>
        </pc:spChg>
        <pc:spChg chg="add del">
          <ac:chgData name="Aurelia Etlin" userId="17c626bb-ce18-4079-8178-d87f0118134e" providerId="ADAL" clId="{9684D8FF-B5F8-44FF-9A64-760426256ECB}" dt="2019-12-13T02:24:16.177" v="207" actId="26606"/>
          <ac:spMkLst>
            <pc:docMk/>
            <pc:sldMk cId="2445481854" sldId="269"/>
            <ac:spMk id="3" creationId="{397EFE3C-103F-468B-BBA2-1D8E61F543BB}"/>
          </ac:spMkLst>
        </pc:spChg>
        <pc:spChg chg="add">
          <ac:chgData name="Aurelia Etlin" userId="17c626bb-ce18-4079-8178-d87f0118134e" providerId="ADAL" clId="{9684D8FF-B5F8-44FF-9A64-760426256ECB}" dt="2019-12-13T02:24:16.177" v="207" actId="26606"/>
          <ac:spMkLst>
            <pc:docMk/>
            <pc:sldMk cId="2445481854" sldId="269"/>
            <ac:spMk id="6" creationId="{A5711A0E-A428-4ED1-96CB-33D69FD842E4}"/>
          </ac:spMkLst>
        </pc:spChg>
        <pc:spChg chg="add del">
          <ac:chgData name="Aurelia Etlin" userId="17c626bb-ce18-4079-8178-d87f0118134e" providerId="ADAL" clId="{9684D8FF-B5F8-44FF-9A64-760426256ECB}" dt="2019-12-13T02:24:01.868" v="206" actId="26606"/>
          <ac:spMkLst>
            <pc:docMk/>
            <pc:sldMk cId="2445481854" sldId="269"/>
            <ac:spMk id="10" creationId="{A5711A0E-A428-4ED1-96CB-33D69FD842E4}"/>
          </ac:spMkLst>
        </pc:spChg>
        <pc:graphicFrameChg chg="add del">
          <ac:chgData name="Aurelia Etlin" userId="17c626bb-ce18-4079-8178-d87f0118134e" providerId="ADAL" clId="{9684D8FF-B5F8-44FF-9A64-760426256ECB}" dt="2019-12-13T02:24:01.868" v="206" actId="26606"/>
          <ac:graphicFrameMkLst>
            <pc:docMk/>
            <pc:sldMk cId="2445481854" sldId="269"/>
            <ac:graphicFrameMk id="5" creationId="{CEA00F6D-8786-49A1-A095-76F357964861}"/>
          </ac:graphicFrameMkLst>
        </pc:graphicFrameChg>
        <pc:graphicFrameChg chg="add mod">
          <ac:chgData name="Aurelia Etlin" userId="17c626bb-ce18-4079-8178-d87f0118134e" providerId="ADAL" clId="{9684D8FF-B5F8-44FF-9A64-760426256ECB}" dt="2019-12-13T12:51:06.241" v="333"/>
          <ac:graphicFrameMkLst>
            <pc:docMk/>
            <pc:sldMk cId="2445481854" sldId="269"/>
            <ac:graphicFrameMk id="7" creationId="{CEA00F6D-8786-49A1-A095-76F357964861}"/>
          </ac:graphicFrameMkLst>
        </pc:graphicFrameChg>
        <pc:picChg chg="add del mod">
          <ac:chgData name="Aurelia Etlin" userId="17c626bb-ce18-4079-8178-d87f0118134e" providerId="ADAL" clId="{9684D8FF-B5F8-44FF-9A64-760426256ECB}" dt="2019-12-13T12:47:39.942" v="330" actId="478"/>
          <ac:picMkLst>
            <pc:docMk/>
            <pc:sldMk cId="2445481854" sldId="269"/>
            <ac:picMk id="8" creationId="{9C5CF0EC-E256-46CD-BAF1-7A0B619A6D86}"/>
          </ac:picMkLst>
        </pc:picChg>
      </pc:sldChg>
      <pc:sldChg chg="addSp delSp modSp">
        <pc:chgData name="Aurelia Etlin" userId="17c626bb-ce18-4079-8178-d87f0118134e" providerId="ADAL" clId="{9684D8FF-B5F8-44FF-9A64-760426256ECB}" dt="2019-12-13T17:10:16.606" v="1081" actId="20577"/>
        <pc:sldMkLst>
          <pc:docMk/>
          <pc:sldMk cId="2795925343" sldId="270"/>
        </pc:sldMkLst>
        <pc:spChg chg="mod">
          <ac:chgData name="Aurelia Etlin" userId="17c626bb-ce18-4079-8178-d87f0118134e" providerId="ADAL" clId="{9684D8FF-B5F8-44FF-9A64-760426256ECB}" dt="2019-12-13T15:49:31.731" v="691" actId="20577"/>
          <ac:spMkLst>
            <pc:docMk/>
            <pc:sldMk cId="2795925343" sldId="270"/>
            <ac:spMk id="2" creationId="{890AF9ED-12F0-4BAC-88C7-19E5631017ED}"/>
          </ac:spMkLst>
        </pc:spChg>
        <pc:spChg chg="mod">
          <ac:chgData name="Aurelia Etlin" userId="17c626bb-ce18-4079-8178-d87f0118134e" providerId="ADAL" clId="{9684D8FF-B5F8-44FF-9A64-760426256ECB}" dt="2019-12-13T17:10:16.606" v="1081" actId="20577"/>
          <ac:spMkLst>
            <pc:docMk/>
            <pc:sldMk cId="2795925343" sldId="270"/>
            <ac:spMk id="3" creationId="{F5330C12-610F-4CDF-AB3B-DC8B4E1D4467}"/>
          </ac:spMkLst>
        </pc:spChg>
        <pc:picChg chg="add del">
          <ac:chgData name="Aurelia Etlin" userId="17c626bb-ce18-4079-8178-d87f0118134e" providerId="ADAL" clId="{9684D8FF-B5F8-44FF-9A64-760426256ECB}" dt="2019-12-13T15:51:30.673" v="707"/>
          <ac:picMkLst>
            <pc:docMk/>
            <pc:sldMk cId="2795925343" sldId="270"/>
            <ac:picMk id="7" creationId="{2A49D200-8EE1-4407-B77F-4363C88955E8}"/>
          </ac:picMkLst>
        </pc:picChg>
        <pc:picChg chg="mod">
          <ac:chgData name="Aurelia Etlin" userId="17c626bb-ce18-4079-8178-d87f0118134e" providerId="ADAL" clId="{9684D8FF-B5F8-44FF-9A64-760426256ECB}" dt="2019-12-13T15:53:09.965" v="721" actId="14100"/>
          <ac:picMkLst>
            <pc:docMk/>
            <pc:sldMk cId="2795925343" sldId="270"/>
            <ac:picMk id="9" creationId="{5452131F-97B0-43B9-BDF3-385DBB49AFF2}"/>
          </ac:picMkLst>
        </pc:picChg>
        <pc:picChg chg="add del">
          <ac:chgData name="Aurelia Etlin" userId="17c626bb-ce18-4079-8178-d87f0118134e" providerId="ADAL" clId="{9684D8FF-B5F8-44FF-9A64-760426256ECB}" dt="2019-12-13T15:50:29.114" v="701" actId="478"/>
          <ac:picMkLst>
            <pc:docMk/>
            <pc:sldMk cId="2795925343" sldId="270"/>
            <ac:picMk id="6146" creationId="{74F5C659-1A42-4E43-B258-DBA0CCE29C8A}"/>
          </ac:picMkLst>
        </pc:picChg>
      </pc:sldChg>
      <pc:sldChg chg="addSp modSp">
        <pc:chgData name="Aurelia Etlin" userId="17c626bb-ce18-4079-8178-d87f0118134e" providerId="ADAL" clId="{9684D8FF-B5F8-44FF-9A64-760426256ECB}" dt="2019-12-13T15:57:50.725" v="783"/>
        <pc:sldMkLst>
          <pc:docMk/>
          <pc:sldMk cId="1453864961" sldId="271"/>
        </pc:sldMkLst>
        <pc:spChg chg="mod">
          <ac:chgData name="Aurelia Etlin" userId="17c626bb-ce18-4079-8178-d87f0118134e" providerId="ADAL" clId="{9684D8FF-B5F8-44FF-9A64-760426256ECB}" dt="2019-12-13T15:49:36.386" v="694" actId="20577"/>
          <ac:spMkLst>
            <pc:docMk/>
            <pc:sldMk cId="1453864961" sldId="271"/>
            <ac:spMk id="2" creationId="{890AF9ED-12F0-4BAC-88C7-19E5631017ED}"/>
          </ac:spMkLst>
        </pc:spChg>
        <pc:spChg chg="mod">
          <ac:chgData name="Aurelia Etlin" userId="17c626bb-ce18-4079-8178-d87f0118134e" providerId="ADAL" clId="{9684D8FF-B5F8-44FF-9A64-760426256ECB}" dt="2019-12-13T15:56:44.814" v="782" actId="20577"/>
          <ac:spMkLst>
            <pc:docMk/>
            <pc:sldMk cId="1453864961" sldId="271"/>
            <ac:spMk id="3" creationId="{F5330C12-610F-4CDF-AB3B-DC8B4E1D4467}"/>
          </ac:spMkLst>
        </pc:spChg>
        <pc:spChg chg="add mod">
          <ac:chgData name="Aurelia Etlin" userId="17c626bb-ce18-4079-8178-d87f0118134e" providerId="ADAL" clId="{9684D8FF-B5F8-44FF-9A64-760426256ECB}" dt="2019-12-13T15:55:41.161" v="730" actId="1076"/>
          <ac:spMkLst>
            <pc:docMk/>
            <pc:sldMk cId="1453864961" sldId="271"/>
            <ac:spMk id="10" creationId="{EC39E609-3FE4-434B-B0A6-E11D5D737AA9}"/>
          </ac:spMkLst>
        </pc:spChg>
        <pc:grpChg chg="mod">
          <ac:chgData name="Aurelia Etlin" userId="17c626bb-ce18-4079-8178-d87f0118134e" providerId="ADAL" clId="{9684D8FF-B5F8-44FF-9A64-760426256ECB}" dt="2019-12-13T15:55:09.926" v="727" actId="1076"/>
          <ac:grpSpMkLst>
            <pc:docMk/>
            <pc:sldMk cId="1453864961" sldId="271"/>
            <ac:grpSpMk id="12" creationId="{C414C219-3529-40F8-A6F0-5550F68C7D75}"/>
          </ac:grpSpMkLst>
        </pc:grpChg>
        <pc:picChg chg="mod">
          <ac:chgData name="Aurelia Etlin" userId="17c626bb-ce18-4079-8178-d87f0118134e" providerId="ADAL" clId="{9684D8FF-B5F8-44FF-9A64-760426256ECB}" dt="2019-12-13T15:55:03.565" v="725" actId="1076"/>
          <ac:picMkLst>
            <pc:docMk/>
            <pc:sldMk cId="1453864961" sldId="271"/>
            <ac:picMk id="13" creationId="{1ED331FD-81C9-48AA-9763-4DF5799211F3}"/>
          </ac:picMkLst>
        </pc:picChg>
        <pc:picChg chg="mod">
          <ac:chgData name="Aurelia Etlin" userId="17c626bb-ce18-4079-8178-d87f0118134e" providerId="ADAL" clId="{9684D8FF-B5F8-44FF-9A64-760426256ECB}" dt="2019-12-13T15:55:05.860" v="726" actId="1076"/>
          <ac:picMkLst>
            <pc:docMk/>
            <pc:sldMk cId="1453864961" sldId="271"/>
            <ac:picMk id="14" creationId="{F1E2A1A6-74B9-4F6D-B489-19ED97A11F19}"/>
          </ac:picMkLst>
        </pc:picChg>
        <pc:picChg chg="add">
          <ac:chgData name="Aurelia Etlin" userId="17c626bb-ce18-4079-8178-d87f0118134e" providerId="ADAL" clId="{9684D8FF-B5F8-44FF-9A64-760426256ECB}" dt="2019-12-13T15:57:50.725" v="783"/>
          <ac:picMkLst>
            <pc:docMk/>
            <pc:sldMk cId="1453864961" sldId="271"/>
            <ac:picMk id="15" creationId="{BDBD15DD-D7B0-42D5-BC9A-9E982EE85C5B}"/>
          </ac:picMkLst>
        </pc:picChg>
      </pc:sldChg>
      <pc:sldChg chg="addSp delSp modSp mod setBg">
        <pc:chgData name="Aurelia Etlin" userId="17c626bb-ce18-4079-8178-d87f0118134e" providerId="ADAL" clId="{9684D8FF-B5F8-44FF-9A64-760426256ECB}" dt="2019-12-13T15:48:48.158" v="676" actId="1076"/>
        <pc:sldMkLst>
          <pc:docMk/>
          <pc:sldMk cId="3092789037" sldId="277"/>
        </pc:sldMkLst>
        <pc:spChg chg="mod">
          <ac:chgData name="Aurelia Etlin" userId="17c626bb-ce18-4079-8178-d87f0118134e" providerId="ADAL" clId="{9684D8FF-B5F8-44FF-9A64-760426256ECB}" dt="2019-12-13T15:48:48.158" v="676" actId="1076"/>
          <ac:spMkLst>
            <pc:docMk/>
            <pc:sldMk cId="3092789037" sldId="277"/>
            <ac:spMk id="2" creationId="{890AF9ED-12F0-4BAC-88C7-19E5631017ED}"/>
          </ac:spMkLst>
        </pc:spChg>
        <pc:spChg chg="mod">
          <ac:chgData name="Aurelia Etlin" userId="17c626bb-ce18-4079-8178-d87f0118134e" providerId="ADAL" clId="{9684D8FF-B5F8-44FF-9A64-760426256ECB}" dt="2019-12-13T15:48:28.739" v="675" actId="122"/>
          <ac:spMkLst>
            <pc:docMk/>
            <pc:sldMk cId="3092789037" sldId="277"/>
            <ac:spMk id="3" creationId="{F5330C12-610F-4CDF-AB3B-DC8B4E1D4467}"/>
          </ac:spMkLst>
        </pc:spChg>
        <pc:spChg chg="mod ord">
          <ac:chgData name="Aurelia Etlin" userId="17c626bb-ce18-4079-8178-d87f0118134e" providerId="ADAL" clId="{9684D8FF-B5F8-44FF-9A64-760426256ECB}" dt="2019-12-13T15:45:06.286" v="652" actId="26606"/>
          <ac:spMkLst>
            <pc:docMk/>
            <pc:sldMk cId="3092789037" sldId="277"/>
            <ac:spMk id="4" creationId="{2FB3EE5B-B10D-4135-B4D1-8D3CAFDB21F4}"/>
          </ac:spMkLst>
        </pc:spChg>
        <pc:spChg chg="add del">
          <ac:chgData name="Aurelia Etlin" userId="17c626bb-ce18-4079-8178-d87f0118134e" providerId="ADAL" clId="{9684D8FF-B5F8-44FF-9A64-760426256ECB}" dt="2019-12-13T15:45:06.277" v="651" actId="26606"/>
          <ac:spMkLst>
            <pc:docMk/>
            <pc:sldMk cId="3092789037" sldId="277"/>
            <ac:spMk id="18" creationId="{C4BBF182-F88E-4160-9D7C-A47A761320CF}"/>
          </ac:spMkLst>
        </pc:spChg>
        <pc:picChg chg="add">
          <ac:chgData name="Aurelia Etlin" userId="17c626bb-ce18-4079-8178-d87f0118134e" providerId="ADAL" clId="{9684D8FF-B5F8-44FF-9A64-760426256ECB}" dt="2019-12-13T15:44:34.163" v="648"/>
          <ac:picMkLst>
            <pc:docMk/>
            <pc:sldMk cId="3092789037" sldId="277"/>
            <ac:picMk id="7" creationId="{537C98FD-9A40-48CE-ACF0-ED83EA377109}"/>
          </ac:picMkLst>
        </pc:picChg>
        <pc:picChg chg="mod ord">
          <ac:chgData name="Aurelia Etlin" userId="17c626bb-ce18-4079-8178-d87f0118134e" providerId="ADAL" clId="{9684D8FF-B5F8-44FF-9A64-760426256ECB}" dt="2019-12-13T15:45:25.106" v="657" actId="14100"/>
          <ac:picMkLst>
            <pc:docMk/>
            <pc:sldMk cId="3092789037" sldId="277"/>
            <ac:picMk id="13" creationId="{E109F52B-0B48-45D5-9EF2-062852104861}"/>
          </ac:picMkLst>
        </pc:picChg>
        <pc:picChg chg="add del">
          <ac:chgData name="Aurelia Etlin" userId="17c626bb-ce18-4079-8178-d87f0118134e" providerId="ADAL" clId="{9684D8FF-B5F8-44FF-9A64-760426256ECB}" dt="2019-12-13T15:44:28.175" v="647" actId="478"/>
          <ac:picMkLst>
            <pc:docMk/>
            <pc:sldMk cId="3092789037" sldId="277"/>
            <ac:picMk id="4098" creationId="{C38986DC-BEDB-49FB-BDD5-3D738EFD5255}"/>
          </ac:picMkLst>
        </pc:picChg>
        <pc:cxnChg chg="add del">
          <ac:chgData name="Aurelia Etlin" userId="17c626bb-ce18-4079-8178-d87f0118134e" providerId="ADAL" clId="{9684D8FF-B5F8-44FF-9A64-760426256ECB}" dt="2019-12-13T15:45:06.277" v="651" actId="26606"/>
          <ac:cxnSpMkLst>
            <pc:docMk/>
            <pc:sldMk cId="3092789037" sldId="277"/>
            <ac:cxnSpMk id="20" creationId="{BA0504EE-683F-4FE2-A169-83C71FAA35CB}"/>
          </ac:cxnSpMkLst>
        </pc:cxnChg>
        <pc:cxnChg chg="add del">
          <ac:chgData name="Aurelia Etlin" userId="17c626bb-ce18-4079-8178-d87f0118134e" providerId="ADAL" clId="{9684D8FF-B5F8-44FF-9A64-760426256ECB}" dt="2019-12-13T15:45:06.277" v="651" actId="26606"/>
          <ac:cxnSpMkLst>
            <pc:docMk/>
            <pc:sldMk cId="3092789037" sldId="277"/>
            <ac:cxnSpMk id="22" creationId="{80A61CFF-0E76-478B-B02B-73692D891E7C}"/>
          </ac:cxnSpMkLst>
        </pc:cxnChg>
      </pc:sldChg>
      <pc:sldChg chg="addSp delSp modSp mod setBg">
        <pc:chgData name="Aurelia Etlin" userId="17c626bb-ce18-4079-8178-d87f0118134e" providerId="ADAL" clId="{9684D8FF-B5F8-44FF-9A64-760426256ECB}" dt="2019-12-13T16:20:13.831" v="989" actId="1076"/>
        <pc:sldMkLst>
          <pc:docMk/>
          <pc:sldMk cId="3981483460" sldId="278"/>
        </pc:sldMkLst>
        <pc:spChg chg="mod">
          <ac:chgData name="Aurelia Etlin" userId="17c626bb-ce18-4079-8178-d87f0118134e" providerId="ADAL" clId="{9684D8FF-B5F8-44FF-9A64-760426256ECB}" dt="2019-12-13T16:13:11.800" v="877" actId="26606"/>
          <ac:spMkLst>
            <pc:docMk/>
            <pc:sldMk cId="3981483460" sldId="278"/>
            <ac:spMk id="2" creationId="{890AF9ED-12F0-4BAC-88C7-19E5631017ED}"/>
          </ac:spMkLst>
        </pc:spChg>
        <pc:spChg chg="add del">
          <ac:chgData name="Aurelia Etlin" userId="17c626bb-ce18-4079-8178-d87f0118134e" providerId="ADAL" clId="{9684D8FF-B5F8-44FF-9A64-760426256ECB}" dt="2019-12-13T16:13:11.800" v="877" actId="26606"/>
          <ac:spMkLst>
            <pc:docMk/>
            <pc:sldMk cId="3981483460" sldId="278"/>
            <ac:spMk id="3" creationId="{F5330C12-610F-4CDF-AB3B-DC8B4E1D4467}"/>
          </ac:spMkLst>
        </pc:spChg>
        <pc:spChg chg="add del mod">
          <ac:chgData name="Aurelia Etlin" userId="17c626bb-ce18-4079-8178-d87f0118134e" providerId="ADAL" clId="{9684D8FF-B5F8-44FF-9A64-760426256ECB}" dt="2019-12-13T16:20:13.831" v="989" actId="1076"/>
          <ac:spMkLst>
            <pc:docMk/>
            <pc:sldMk cId="3981483460" sldId="278"/>
            <ac:spMk id="4" creationId="{2FB3EE5B-B10D-4135-B4D1-8D3CAFDB21F4}"/>
          </ac:spMkLst>
        </pc:spChg>
        <pc:spChg chg="del">
          <ac:chgData name="Aurelia Etlin" userId="17c626bb-ce18-4079-8178-d87f0118134e" providerId="ADAL" clId="{9684D8FF-B5F8-44FF-9A64-760426256ECB}" dt="2019-12-13T16:13:02.458" v="876" actId="478"/>
          <ac:spMkLst>
            <pc:docMk/>
            <pc:sldMk cId="3981483460" sldId="278"/>
            <ac:spMk id="5" creationId="{B400EC06-D5E7-4C75-9298-A226DD0C4C54}"/>
          </ac:spMkLst>
        </pc:spChg>
        <pc:spChg chg="add">
          <ac:chgData name="Aurelia Etlin" userId="17c626bb-ce18-4079-8178-d87f0118134e" providerId="ADAL" clId="{9684D8FF-B5F8-44FF-9A64-760426256ECB}" dt="2019-12-13T16:13:11.800" v="877" actId="26606"/>
          <ac:spMkLst>
            <pc:docMk/>
            <pc:sldMk cId="3981483460" sldId="278"/>
            <ac:spMk id="7" creationId="{A5711A0E-A428-4ED1-96CB-33D69FD842E4}"/>
          </ac:spMkLst>
        </pc:spChg>
        <pc:spChg chg="add del">
          <ac:chgData name="Aurelia Etlin" userId="17c626bb-ce18-4079-8178-d87f0118134e" providerId="ADAL" clId="{9684D8FF-B5F8-44FF-9A64-760426256ECB}" dt="2019-12-13T16:12:34.643" v="875" actId="26606"/>
          <ac:spMkLst>
            <pc:docMk/>
            <pc:sldMk cId="3981483460" sldId="278"/>
            <ac:spMk id="11" creationId="{A5711A0E-A428-4ED1-96CB-33D69FD842E4}"/>
          </ac:spMkLst>
        </pc:spChg>
        <pc:graphicFrameChg chg="add del mod">
          <ac:chgData name="Aurelia Etlin" userId="17c626bb-ce18-4079-8178-d87f0118134e" providerId="ADAL" clId="{9684D8FF-B5F8-44FF-9A64-760426256ECB}" dt="2019-12-13T16:12:34.643" v="875" actId="26606"/>
          <ac:graphicFrameMkLst>
            <pc:docMk/>
            <pc:sldMk cId="3981483460" sldId="278"/>
            <ac:graphicFrameMk id="6" creationId="{22CCBAE4-8185-4709-95F3-A6157CCBCDD2}"/>
          </ac:graphicFrameMkLst>
        </pc:graphicFrameChg>
        <pc:graphicFrameChg chg="add mod">
          <ac:chgData name="Aurelia Etlin" userId="17c626bb-ce18-4079-8178-d87f0118134e" providerId="ADAL" clId="{9684D8FF-B5F8-44FF-9A64-760426256ECB}" dt="2019-12-13T16:16:32.848" v="889" actId="20577"/>
          <ac:graphicFrameMkLst>
            <pc:docMk/>
            <pc:sldMk cId="3981483460" sldId="278"/>
            <ac:graphicFrameMk id="8" creationId="{92BCF139-A68D-4528-ACCE-DE5F361A96BB}"/>
          </ac:graphicFrameMkLst>
        </pc:graphicFrameChg>
      </pc:sldChg>
      <pc:sldChg chg="addSp delSp modSp mod setBg">
        <pc:chgData name="Aurelia Etlin" userId="17c626bb-ce18-4079-8178-d87f0118134e" providerId="ADAL" clId="{9684D8FF-B5F8-44FF-9A64-760426256ECB}" dt="2019-12-13T16:24:06.815" v="1040"/>
        <pc:sldMkLst>
          <pc:docMk/>
          <pc:sldMk cId="3988240042" sldId="279"/>
        </pc:sldMkLst>
        <pc:spChg chg="mod">
          <ac:chgData name="Aurelia Etlin" userId="17c626bb-ce18-4079-8178-d87f0118134e" providerId="ADAL" clId="{9684D8FF-B5F8-44FF-9A64-760426256ECB}" dt="2019-12-13T16:20:43.843" v="990" actId="26606"/>
          <ac:spMkLst>
            <pc:docMk/>
            <pc:sldMk cId="3988240042" sldId="279"/>
            <ac:spMk id="2" creationId="{890AF9ED-12F0-4BAC-88C7-19E5631017ED}"/>
          </ac:spMkLst>
        </pc:spChg>
        <pc:spChg chg="del">
          <ac:chgData name="Aurelia Etlin" userId="17c626bb-ce18-4079-8178-d87f0118134e" providerId="ADAL" clId="{9684D8FF-B5F8-44FF-9A64-760426256ECB}" dt="2019-12-13T16:20:43.843" v="990" actId="26606"/>
          <ac:spMkLst>
            <pc:docMk/>
            <pc:sldMk cId="3988240042" sldId="279"/>
            <ac:spMk id="3" creationId="{F5330C12-610F-4CDF-AB3B-DC8B4E1D4467}"/>
          </ac:spMkLst>
        </pc:spChg>
        <pc:spChg chg="mod">
          <ac:chgData name="Aurelia Etlin" userId="17c626bb-ce18-4079-8178-d87f0118134e" providerId="ADAL" clId="{9684D8FF-B5F8-44FF-9A64-760426256ECB}" dt="2019-12-13T16:20:43.843" v="990" actId="26606"/>
          <ac:spMkLst>
            <pc:docMk/>
            <pc:sldMk cId="3988240042" sldId="279"/>
            <ac:spMk id="4" creationId="{2FB3EE5B-B10D-4135-B4D1-8D3CAFDB21F4}"/>
          </ac:spMkLst>
        </pc:spChg>
        <pc:graphicFrameChg chg="add mod">
          <ac:chgData name="Aurelia Etlin" userId="17c626bb-ce18-4079-8178-d87f0118134e" providerId="ADAL" clId="{9684D8FF-B5F8-44FF-9A64-760426256ECB}" dt="2019-12-13T16:24:06.815" v="1040"/>
          <ac:graphicFrameMkLst>
            <pc:docMk/>
            <pc:sldMk cId="3988240042" sldId="279"/>
            <ac:graphicFrameMk id="6" creationId="{66EAA3BB-C01C-41DA-909F-C677FA1FA8C4}"/>
          </ac:graphicFrameMkLst>
        </pc:graphicFrameChg>
      </pc:sldChg>
      <pc:sldChg chg="addSp delSp modSp mod setBg">
        <pc:chgData name="Aurelia Etlin" userId="17c626bb-ce18-4079-8178-d87f0118134e" providerId="ADAL" clId="{9684D8FF-B5F8-44FF-9A64-760426256ECB}" dt="2019-12-16T21:22:09.425" v="1701" actId="1076"/>
        <pc:sldMkLst>
          <pc:docMk/>
          <pc:sldMk cId="882155521" sldId="281"/>
        </pc:sldMkLst>
        <pc:spChg chg="mod">
          <ac:chgData name="Aurelia Etlin" userId="17c626bb-ce18-4079-8178-d87f0118134e" providerId="ADAL" clId="{9684D8FF-B5F8-44FF-9A64-760426256ECB}" dt="2019-12-13T13:00:26.200" v="435" actId="1076"/>
          <ac:spMkLst>
            <pc:docMk/>
            <pc:sldMk cId="882155521" sldId="281"/>
            <ac:spMk id="2" creationId="{99B1DD74-ECFF-4F6D-A99A-166E150EA5D9}"/>
          </ac:spMkLst>
        </pc:spChg>
        <pc:spChg chg="del">
          <ac:chgData name="Aurelia Etlin" userId="17c626bb-ce18-4079-8178-d87f0118134e" providerId="ADAL" clId="{9684D8FF-B5F8-44FF-9A64-760426256ECB}" dt="2019-12-13T12:52:04.734" v="334" actId="478"/>
          <ac:spMkLst>
            <pc:docMk/>
            <pc:sldMk cId="882155521" sldId="281"/>
            <ac:spMk id="3" creationId="{397EFE3C-103F-468B-BBA2-1D8E61F543BB}"/>
          </ac:spMkLst>
        </pc:spChg>
        <pc:spChg chg="add del mod">
          <ac:chgData name="Aurelia Etlin" userId="17c626bb-ce18-4079-8178-d87f0118134e" providerId="ADAL" clId="{9684D8FF-B5F8-44FF-9A64-760426256ECB}" dt="2019-12-13T12:53:28.595" v="363" actId="478"/>
          <ac:spMkLst>
            <pc:docMk/>
            <pc:sldMk cId="882155521" sldId="281"/>
            <ac:spMk id="6" creationId="{0832B1F4-07A6-4BDC-A49B-6D88E7D47F0D}"/>
          </ac:spMkLst>
        </pc:spChg>
        <pc:spChg chg="add del">
          <ac:chgData name="Aurelia Etlin" userId="17c626bb-ce18-4079-8178-d87f0118134e" providerId="ADAL" clId="{9684D8FF-B5F8-44FF-9A64-760426256ECB}" dt="2019-12-13T12:54:00.299" v="365" actId="26606"/>
          <ac:spMkLst>
            <pc:docMk/>
            <pc:sldMk cId="882155521" sldId="281"/>
            <ac:spMk id="7" creationId="{A87EA4E9-DFD6-45D4-965D-8A79984EF440}"/>
          </ac:spMkLst>
        </pc:spChg>
        <pc:spChg chg="add">
          <ac:chgData name="Aurelia Etlin" userId="17c626bb-ce18-4079-8178-d87f0118134e" providerId="ADAL" clId="{9684D8FF-B5F8-44FF-9A64-760426256ECB}" dt="2019-12-13T12:54:00.324" v="366" actId="26606"/>
          <ac:spMkLst>
            <pc:docMk/>
            <pc:sldMk cId="882155521" sldId="281"/>
            <ac:spMk id="9" creationId="{70BDD0CE-06A4-404B-8A13-580229C1C923}"/>
          </ac:spMkLst>
        </pc:spChg>
        <pc:spChg chg="add del">
          <ac:chgData name="Aurelia Etlin" userId="17c626bb-ce18-4079-8178-d87f0118134e" providerId="ADAL" clId="{9684D8FF-B5F8-44FF-9A64-760426256ECB}" dt="2019-12-13T12:52:14.720" v="336" actId="26606"/>
          <ac:spMkLst>
            <pc:docMk/>
            <pc:sldMk cId="882155521" sldId="281"/>
            <ac:spMk id="10" creationId="{70BDD0CE-06A4-404B-8A13-580229C1C923}"/>
          </ac:spMkLst>
        </pc:spChg>
        <pc:spChg chg="add">
          <ac:chgData name="Aurelia Etlin" userId="17c626bb-ce18-4079-8178-d87f0118134e" providerId="ADAL" clId="{9684D8FF-B5F8-44FF-9A64-760426256ECB}" dt="2019-12-13T12:54:00.324" v="366" actId="26606"/>
          <ac:spMkLst>
            <pc:docMk/>
            <pc:sldMk cId="882155521" sldId="281"/>
            <ac:spMk id="11" creationId="{EE9899FA-8881-472C-AA59-D08A89CA8AEF}"/>
          </ac:spMkLst>
        </pc:spChg>
        <pc:spChg chg="add del">
          <ac:chgData name="Aurelia Etlin" userId="17c626bb-ce18-4079-8178-d87f0118134e" providerId="ADAL" clId="{9684D8FF-B5F8-44FF-9A64-760426256ECB}" dt="2019-12-13T12:52:14.720" v="336" actId="26606"/>
          <ac:spMkLst>
            <pc:docMk/>
            <pc:sldMk cId="882155521" sldId="281"/>
            <ac:spMk id="12" creationId="{EE9899FA-8881-472C-AA59-D08A89CA8AEF}"/>
          </ac:spMkLst>
        </pc:spChg>
        <pc:spChg chg="add del mod">
          <ac:chgData name="Aurelia Etlin" userId="17c626bb-ce18-4079-8178-d87f0118134e" providerId="ADAL" clId="{9684D8FF-B5F8-44FF-9A64-760426256ECB}" dt="2019-12-13T12:53:26.266" v="362" actId="478"/>
          <ac:spMkLst>
            <pc:docMk/>
            <pc:sldMk cId="882155521" sldId="281"/>
            <ac:spMk id="13" creationId="{BD22E744-BE5A-4253-B2BE-CB1778348A6A}"/>
          </ac:spMkLst>
        </pc:spChg>
        <pc:spChg chg="add del">
          <ac:chgData name="Aurelia Etlin" userId="17c626bb-ce18-4079-8178-d87f0118134e" providerId="ADAL" clId="{9684D8FF-B5F8-44FF-9A64-760426256ECB}" dt="2019-12-13T12:52:14.720" v="336" actId="26606"/>
          <ac:spMkLst>
            <pc:docMk/>
            <pc:sldMk cId="882155521" sldId="281"/>
            <ac:spMk id="14" creationId="{080B7D90-3DF1-4514-B26D-616BE35553C9}"/>
          </ac:spMkLst>
        </pc:spChg>
        <pc:spChg chg="add">
          <ac:chgData name="Aurelia Etlin" userId="17c626bb-ce18-4079-8178-d87f0118134e" providerId="ADAL" clId="{9684D8FF-B5F8-44FF-9A64-760426256ECB}" dt="2019-12-13T12:54:00.324" v="366" actId="26606"/>
          <ac:spMkLst>
            <pc:docMk/>
            <pc:sldMk cId="882155521" sldId="281"/>
            <ac:spMk id="15" creationId="{080B7D90-3DF1-4514-B26D-616BE35553C9}"/>
          </ac:spMkLst>
        </pc:spChg>
        <pc:spChg chg="add del">
          <ac:chgData name="Aurelia Etlin" userId="17c626bb-ce18-4079-8178-d87f0118134e" providerId="ADAL" clId="{9684D8FF-B5F8-44FF-9A64-760426256ECB}" dt="2019-12-13T12:52:38.058" v="340" actId="26606"/>
          <ac:spMkLst>
            <pc:docMk/>
            <pc:sldMk cId="882155521" sldId="281"/>
            <ac:spMk id="16" creationId="{96646FC9-C66D-4EC7-8310-0DD4ACC49C6C}"/>
          </ac:spMkLst>
        </pc:spChg>
        <pc:spChg chg="add del">
          <ac:chgData name="Aurelia Etlin" userId="17c626bb-ce18-4079-8178-d87f0118134e" providerId="ADAL" clId="{9684D8FF-B5F8-44FF-9A64-760426256ECB}" dt="2019-12-13T12:52:38.058" v="340" actId="26606"/>
          <ac:spMkLst>
            <pc:docMk/>
            <pc:sldMk cId="882155521" sldId="281"/>
            <ac:spMk id="17" creationId="{A3473CF9-37EB-43E7-89EF-D2D1C53D1DAC}"/>
          </ac:spMkLst>
        </pc:spChg>
        <pc:spChg chg="add del">
          <ac:chgData name="Aurelia Etlin" userId="17c626bb-ce18-4079-8178-d87f0118134e" providerId="ADAL" clId="{9684D8FF-B5F8-44FF-9A64-760426256ECB}" dt="2019-12-13T12:52:38.058" v="340" actId="26606"/>
          <ac:spMkLst>
            <pc:docMk/>
            <pc:sldMk cId="882155521" sldId="281"/>
            <ac:spMk id="18" creationId="{586B4EF9-43BA-4655-A6FF-1D8E21574C95}"/>
          </ac:spMkLst>
        </pc:spChg>
        <pc:spChg chg="add mod">
          <ac:chgData name="Aurelia Etlin" userId="17c626bb-ce18-4079-8178-d87f0118134e" providerId="ADAL" clId="{9684D8FF-B5F8-44FF-9A64-760426256ECB}" dt="2019-12-13T13:00:48.068" v="437" actId="1076"/>
          <ac:spMkLst>
            <pc:docMk/>
            <pc:sldMk cId="882155521" sldId="281"/>
            <ac:spMk id="19" creationId="{A4DD51FA-7EEA-49B2-9DE9-C0CBF21C9EFB}"/>
          </ac:spMkLst>
        </pc:spChg>
        <pc:spChg chg="add mod">
          <ac:chgData name="Aurelia Etlin" userId="17c626bb-ce18-4079-8178-d87f0118134e" providerId="ADAL" clId="{9684D8FF-B5F8-44FF-9A64-760426256ECB}" dt="2019-12-13T13:01:02.648" v="440" actId="20577"/>
          <ac:spMkLst>
            <pc:docMk/>
            <pc:sldMk cId="882155521" sldId="281"/>
            <ac:spMk id="20" creationId="{DEE43E2E-6E2F-4662-89B7-E455F79F2875}"/>
          </ac:spMkLst>
        </pc:spChg>
        <pc:picChg chg="mod">
          <ac:chgData name="Aurelia Etlin" userId="17c626bb-ce18-4079-8178-d87f0118134e" providerId="ADAL" clId="{9684D8FF-B5F8-44FF-9A64-760426256ECB}" dt="2019-12-16T21:22:09.425" v="1701" actId="1076"/>
          <ac:picMkLst>
            <pc:docMk/>
            <pc:sldMk cId="882155521" sldId="281"/>
            <ac:picMk id="4" creationId="{7B9EFF61-7783-4A7C-BFB6-C2183A24E247}"/>
          </ac:picMkLst>
        </pc:picChg>
        <pc:picChg chg="mod">
          <ac:chgData name="Aurelia Etlin" userId="17c626bb-ce18-4079-8178-d87f0118134e" providerId="ADAL" clId="{9684D8FF-B5F8-44FF-9A64-760426256ECB}" dt="2019-12-16T21:22:04.697" v="1699" actId="1076"/>
          <ac:picMkLst>
            <pc:docMk/>
            <pc:sldMk cId="882155521" sldId="281"/>
            <ac:picMk id="5" creationId="{5EAC8F84-B153-4748-885D-12F0F419DB2B}"/>
          </ac:picMkLst>
        </pc:picChg>
      </pc:sldChg>
      <pc:sldChg chg="addSp delSp modSp mod setBg">
        <pc:chgData name="Aurelia Etlin" userId="17c626bb-ce18-4079-8178-d87f0118134e" providerId="ADAL" clId="{9684D8FF-B5F8-44FF-9A64-760426256ECB}" dt="2019-12-13T12:58:52.443" v="426" actId="14100"/>
        <pc:sldMkLst>
          <pc:docMk/>
          <pc:sldMk cId="4235684094" sldId="282"/>
        </pc:sldMkLst>
        <pc:spChg chg="mod">
          <ac:chgData name="Aurelia Etlin" userId="17c626bb-ce18-4079-8178-d87f0118134e" providerId="ADAL" clId="{9684D8FF-B5F8-44FF-9A64-760426256ECB}" dt="2019-12-13T12:55:30.682" v="386" actId="26606"/>
          <ac:spMkLst>
            <pc:docMk/>
            <pc:sldMk cId="4235684094" sldId="282"/>
            <ac:spMk id="2" creationId="{99B1DD74-ECFF-4F6D-A99A-166E150EA5D9}"/>
          </ac:spMkLst>
        </pc:spChg>
        <pc:spChg chg="mod ord">
          <ac:chgData name="Aurelia Etlin" userId="17c626bb-ce18-4079-8178-d87f0118134e" providerId="ADAL" clId="{9684D8FF-B5F8-44FF-9A64-760426256ECB}" dt="2019-12-13T12:58:52.443" v="426" actId="14100"/>
          <ac:spMkLst>
            <pc:docMk/>
            <pc:sldMk cId="4235684094" sldId="282"/>
            <ac:spMk id="3" creationId="{397EFE3C-103F-468B-BBA2-1D8E61F543BB}"/>
          </ac:spMkLst>
        </pc:spChg>
        <pc:spChg chg="add del">
          <ac:chgData name="Aurelia Etlin" userId="17c626bb-ce18-4079-8178-d87f0118134e" providerId="ADAL" clId="{9684D8FF-B5F8-44FF-9A64-760426256ECB}" dt="2019-12-13T12:55:30.682" v="386" actId="26606"/>
          <ac:spMkLst>
            <pc:docMk/>
            <pc:sldMk cId="4235684094" sldId="282"/>
            <ac:spMk id="9" creationId="{E45CA849-654C-4173-AD99-B3A2528275F5}"/>
          </ac:spMkLst>
        </pc:spChg>
        <pc:spChg chg="add del mod">
          <ac:chgData name="Aurelia Etlin" userId="17c626bb-ce18-4079-8178-d87f0118134e" providerId="ADAL" clId="{9684D8FF-B5F8-44FF-9A64-760426256ECB}" dt="2019-12-13T12:57:05.583" v="408" actId="478"/>
          <ac:spMkLst>
            <pc:docMk/>
            <pc:sldMk cId="4235684094" sldId="282"/>
            <ac:spMk id="10" creationId="{A728BDD9-6956-4BB2-B6EB-703DDB9FF909}"/>
          </ac:spMkLst>
        </pc:spChg>
        <pc:spChg chg="add del">
          <ac:chgData name="Aurelia Etlin" userId="17c626bb-ce18-4079-8178-d87f0118134e" providerId="ADAL" clId="{9684D8FF-B5F8-44FF-9A64-760426256ECB}" dt="2019-12-13T12:55:30.682" v="386" actId="26606"/>
          <ac:spMkLst>
            <pc:docMk/>
            <pc:sldMk cId="4235684094" sldId="282"/>
            <ac:spMk id="11" creationId="{3E23A947-2D45-4208-AE2B-64948C87A3EB}"/>
          </ac:spMkLst>
        </pc:spChg>
        <pc:spChg chg="add del">
          <ac:chgData name="Aurelia Etlin" userId="17c626bb-ce18-4079-8178-d87f0118134e" providerId="ADAL" clId="{9684D8FF-B5F8-44FF-9A64-760426256ECB}" dt="2019-12-13T12:55:30.682" v="386" actId="26606"/>
          <ac:spMkLst>
            <pc:docMk/>
            <pc:sldMk cId="4235684094" sldId="282"/>
            <ac:spMk id="13" creationId="{E5BBB0F9-6A59-4D02-A9C7-A2D6516684CE}"/>
          </ac:spMkLst>
        </pc:spChg>
        <pc:spChg chg="add del">
          <ac:chgData name="Aurelia Etlin" userId="17c626bb-ce18-4079-8178-d87f0118134e" providerId="ADAL" clId="{9684D8FF-B5F8-44FF-9A64-760426256ECB}" dt="2019-12-13T12:57:15.227" v="411" actId="26606"/>
          <ac:spMkLst>
            <pc:docMk/>
            <pc:sldMk cId="4235684094" sldId="282"/>
            <ac:spMk id="18" creationId="{EBF87945-A001-489F-9D9B-7D9435F0B9CA}"/>
          </ac:spMkLst>
        </pc:spChg>
        <pc:spChg chg="add">
          <ac:chgData name="Aurelia Etlin" userId="17c626bb-ce18-4079-8178-d87f0118134e" providerId="ADAL" clId="{9684D8FF-B5F8-44FF-9A64-760426256ECB}" dt="2019-12-13T12:57:15.227" v="411" actId="26606"/>
          <ac:spMkLst>
            <pc:docMk/>
            <pc:sldMk cId="4235684094" sldId="282"/>
            <ac:spMk id="23" creationId="{EBF87945-A001-489F-9D9B-7D9435F0B9CA}"/>
          </ac:spMkLst>
        </pc:spChg>
        <pc:picChg chg="mod">
          <ac:chgData name="Aurelia Etlin" userId="17c626bb-ce18-4079-8178-d87f0118134e" providerId="ADAL" clId="{9684D8FF-B5F8-44FF-9A64-760426256ECB}" dt="2019-12-13T12:55:30.682" v="386" actId="26606"/>
          <ac:picMkLst>
            <pc:docMk/>
            <pc:sldMk cId="4235684094" sldId="282"/>
            <ac:picMk id="4" creationId="{7B9EFF61-7783-4A7C-BFB6-C2183A24E247}"/>
          </ac:picMkLst>
        </pc:picChg>
        <pc:picChg chg="add mod">
          <ac:chgData name="Aurelia Etlin" userId="17c626bb-ce18-4079-8178-d87f0118134e" providerId="ADAL" clId="{9684D8FF-B5F8-44FF-9A64-760426256ECB}" dt="2019-12-13T12:58:32.191" v="422" actId="1076"/>
          <ac:picMkLst>
            <pc:docMk/>
            <pc:sldMk cId="4235684094" sldId="282"/>
            <ac:picMk id="6" creationId="{2CF79BFB-EE66-480A-8DE6-D000A13507FF}"/>
          </ac:picMkLst>
        </pc:picChg>
        <pc:picChg chg="add mod">
          <ac:chgData name="Aurelia Etlin" userId="17c626bb-ce18-4079-8178-d87f0118134e" providerId="ADAL" clId="{9684D8FF-B5F8-44FF-9A64-760426256ECB}" dt="2019-12-13T12:58:43.669" v="424" actId="1076"/>
          <ac:picMkLst>
            <pc:docMk/>
            <pc:sldMk cId="4235684094" sldId="282"/>
            <ac:picMk id="14" creationId="{C2AD911D-5E49-47C7-96D6-698E9F6A1158}"/>
          </ac:picMkLst>
        </pc:picChg>
      </pc:sldChg>
      <pc:sldChg chg="del">
        <pc:chgData name="Aurelia Etlin" userId="17c626bb-ce18-4079-8178-d87f0118134e" providerId="ADAL" clId="{9684D8FF-B5F8-44FF-9A64-760426256ECB}" dt="2019-12-13T13:02:59.289" v="441" actId="2696"/>
        <pc:sldMkLst>
          <pc:docMk/>
          <pc:sldMk cId="1072278647" sldId="283"/>
        </pc:sldMkLst>
      </pc:sldChg>
      <pc:sldChg chg="addSp modSp modNotesTx">
        <pc:chgData name="Aurelia Etlin" userId="17c626bb-ce18-4079-8178-d87f0118134e" providerId="ADAL" clId="{9684D8FF-B5F8-44FF-9A64-760426256ECB}" dt="2019-12-17T22:41:12.192" v="2707" actId="20577"/>
        <pc:sldMkLst>
          <pc:docMk/>
          <pc:sldMk cId="822923803" sldId="285"/>
        </pc:sldMkLst>
        <pc:spChg chg="mod">
          <ac:chgData name="Aurelia Etlin" userId="17c626bb-ce18-4079-8178-d87f0118134e" providerId="ADAL" clId="{9684D8FF-B5F8-44FF-9A64-760426256ECB}" dt="2019-12-16T21:22:17.953" v="1702" actId="1076"/>
          <ac:spMkLst>
            <pc:docMk/>
            <pc:sldMk cId="822923803" sldId="285"/>
            <ac:spMk id="2" creationId="{99B1DD74-ECFF-4F6D-A99A-166E150EA5D9}"/>
          </ac:spMkLst>
        </pc:spChg>
        <pc:spChg chg="mod">
          <ac:chgData name="Aurelia Etlin" userId="17c626bb-ce18-4079-8178-d87f0118134e" providerId="ADAL" clId="{9684D8FF-B5F8-44FF-9A64-760426256ECB}" dt="2019-12-13T13:07:00.033" v="459" actId="207"/>
          <ac:spMkLst>
            <pc:docMk/>
            <pc:sldMk cId="822923803" sldId="285"/>
            <ac:spMk id="5" creationId="{76FCC0F9-74F4-43D8-BCD5-616D422E2A8D}"/>
          </ac:spMkLst>
        </pc:spChg>
        <pc:spChg chg="mod">
          <ac:chgData name="Aurelia Etlin" userId="17c626bb-ce18-4079-8178-d87f0118134e" providerId="ADAL" clId="{9684D8FF-B5F8-44FF-9A64-760426256ECB}" dt="2019-12-17T22:38:58.530" v="2677" actId="20577"/>
          <ac:spMkLst>
            <pc:docMk/>
            <pc:sldMk cId="822923803" sldId="285"/>
            <ac:spMk id="6" creationId="{661B623D-2626-46E2-BA12-3A341B287250}"/>
          </ac:spMkLst>
        </pc:spChg>
        <pc:spChg chg="mod">
          <ac:chgData name="Aurelia Etlin" userId="17c626bb-ce18-4079-8178-d87f0118134e" providerId="ADAL" clId="{9684D8FF-B5F8-44FF-9A64-760426256ECB}" dt="2019-12-16T21:22:21.756" v="1703" actId="1076"/>
          <ac:spMkLst>
            <pc:docMk/>
            <pc:sldMk cId="822923803" sldId="285"/>
            <ac:spMk id="8" creationId="{F7D8959B-CBC4-4519-81D9-0B3F3360B6E9}"/>
          </ac:spMkLst>
        </pc:spChg>
        <pc:picChg chg="add mod">
          <ac:chgData name="Aurelia Etlin" userId="17c626bb-ce18-4079-8178-d87f0118134e" providerId="ADAL" clId="{9684D8FF-B5F8-44FF-9A64-760426256ECB}" dt="2019-12-17T22:41:00.802" v="2688" actId="1076"/>
          <ac:picMkLst>
            <pc:docMk/>
            <pc:sldMk cId="822923803" sldId="285"/>
            <ac:picMk id="4098" creationId="{534DCA43-F1EE-4F4E-8AF2-B8216ED80789}"/>
          </ac:picMkLst>
        </pc:picChg>
        <pc:picChg chg="add mod">
          <ac:chgData name="Aurelia Etlin" userId="17c626bb-ce18-4079-8178-d87f0118134e" providerId="ADAL" clId="{9684D8FF-B5F8-44FF-9A64-760426256ECB}" dt="2019-12-17T22:41:02.631" v="2689" actId="1076"/>
          <ac:picMkLst>
            <pc:docMk/>
            <pc:sldMk cId="822923803" sldId="285"/>
            <ac:picMk id="4100" creationId="{94370947-83DF-443C-BBEA-5F55D152308E}"/>
          </ac:picMkLst>
        </pc:picChg>
      </pc:sldChg>
      <pc:sldChg chg="addSp delSp modSp mod setBg">
        <pc:chgData name="Aurelia Etlin" userId="17c626bb-ce18-4079-8178-d87f0118134e" providerId="ADAL" clId="{9684D8FF-B5F8-44FF-9A64-760426256ECB}" dt="2019-12-16T23:15:43.118" v="1983" actId="26606"/>
        <pc:sldMkLst>
          <pc:docMk/>
          <pc:sldMk cId="4105364412" sldId="289"/>
        </pc:sldMkLst>
        <pc:spChg chg="mod">
          <ac:chgData name="Aurelia Etlin" userId="17c626bb-ce18-4079-8178-d87f0118134e" providerId="ADAL" clId="{9684D8FF-B5F8-44FF-9A64-760426256ECB}" dt="2019-12-16T23:15:43.118" v="1983" actId="26606"/>
          <ac:spMkLst>
            <pc:docMk/>
            <pc:sldMk cId="4105364412" sldId="289"/>
            <ac:spMk id="2" creationId="{99B1DD74-ECFF-4F6D-A99A-166E150EA5D9}"/>
          </ac:spMkLst>
        </pc:spChg>
        <pc:spChg chg="del">
          <ac:chgData name="Aurelia Etlin" userId="17c626bb-ce18-4079-8178-d87f0118134e" providerId="ADAL" clId="{9684D8FF-B5F8-44FF-9A64-760426256ECB}" dt="2019-12-16T23:15:43.118" v="1983" actId="26606"/>
          <ac:spMkLst>
            <pc:docMk/>
            <pc:sldMk cId="4105364412" sldId="289"/>
            <ac:spMk id="3" creationId="{397EFE3C-103F-468B-BBA2-1D8E61F543BB}"/>
          </ac:spMkLst>
        </pc:spChg>
        <pc:spChg chg="add">
          <ac:chgData name="Aurelia Etlin" userId="17c626bb-ce18-4079-8178-d87f0118134e" providerId="ADAL" clId="{9684D8FF-B5F8-44FF-9A64-760426256ECB}" dt="2019-12-16T23:15:43.118" v="1983" actId="26606"/>
          <ac:spMkLst>
            <pc:docMk/>
            <pc:sldMk cId="4105364412" sldId="289"/>
            <ac:spMk id="10" creationId="{A5711A0E-A428-4ED1-96CB-33D69FD842E4}"/>
          </ac:spMkLst>
        </pc:spChg>
        <pc:graphicFrameChg chg="add">
          <ac:chgData name="Aurelia Etlin" userId="17c626bb-ce18-4079-8178-d87f0118134e" providerId="ADAL" clId="{9684D8FF-B5F8-44FF-9A64-760426256ECB}" dt="2019-12-16T23:15:43.118" v="1983" actId="26606"/>
          <ac:graphicFrameMkLst>
            <pc:docMk/>
            <pc:sldMk cId="4105364412" sldId="289"/>
            <ac:graphicFrameMk id="5" creationId="{2E392202-A22B-4BEC-8A59-94F5EDD0A282}"/>
          </ac:graphicFrameMkLst>
        </pc:graphicFrameChg>
      </pc:sldChg>
      <pc:sldChg chg="addSp delSp modSp mod setBg">
        <pc:chgData name="Aurelia Etlin" userId="17c626bb-ce18-4079-8178-d87f0118134e" providerId="ADAL" clId="{9684D8FF-B5F8-44FF-9A64-760426256ECB}" dt="2019-12-17T18:04:15.234" v="2258"/>
        <pc:sldMkLst>
          <pc:docMk/>
          <pc:sldMk cId="2552728642" sldId="292"/>
        </pc:sldMkLst>
        <pc:spChg chg="mod">
          <ac:chgData name="Aurelia Etlin" userId="17c626bb-ce18-4079-8178-d87f0118134e" providerId="ADAL" clId="{9684D8FF-B5F8-44FF-9A64-760426256ECB}" dt="2019-12-17T18:02:07.340" v="2233" actId="26606"/>
          <ac:spMkLst>
            <pc:docMk/>
            <pc:sldMk cId="2552728642" sldId="292"/>
            <ac:spMk id="2" creationId="{99B1DD74-ECFF-4F6D-A99A-166E150EA5D9}"/>
          </ac:spMkLst>
        </pc:spChg>
        <pc:spChg chg="del mod">
          <ac:chgData name="Aurelia Etlin" userId="17c626bb-ce18-4079-8178-d87f0118134e" providerId="ADAL" clId="{9684D8FF-B5F8-44FF-9A64-760426256ECB}" dt="2019-12-17T18:02:07.340" v="2233" actId="26606"/>
          <ac:spMkLst>
            <pc:docMk/>
            <pc:sldMk cId="2552728642" sldId="292"/>
            <ac:spMk id="3" creationId="{397EFE3C-103F-468B-BBA2-1D8E61F543BB}"/>
          </ac:spMkLst>
        </pc:spChg>
        <pc:spChg chg="add">
          <ac:chgData name="Aurelia Etlin" userId="17c626bb-ce18-4079-8178-d87f0118134e" providerId="ADAL" clId="{9684D8FF-B5F8-44FF-9A64-760426256ECB}" dt="2019-12-17T18:02:07.340" v="2233" actId="26606"/>
          <ac:spMkLst>
            <pc:docMk/>
            <pc:sldMk cId="2552728642" sldId="292"/>
            <ac:spMk id="6" creationId="{46C2E80F-49A6-4372-B103-219D417A55ED}"/>
          </ac:spMkLst>
        </pc:spChg>
        <pc:spChg chg="add del">
          <ac:chgData name="Aurelia Etlin" userId="17c626bb-ce18-4079-8178-d87f0118134e" providerId="ADAL" clId="{9684D8FF-B5F8-44FF-9A64-760426256ECB}" dt="2019-12-17T17:59:27.859" v="2231" actId="26606"/>
          <ac:spMkLst>
            <pc:docMk/>
            <pc:sldMk cId="2552728642" sldId="292"/>
            <ac:spMk id="8" creationId="{8BB56887-D0D5-4F0C-9E19-7247EB83C8B7}"/>
          </ac:spMkLst>
        </pc:spChg>
        <pc:spChg chg="add del">
          <ac:chgData name="Aurelia Etlin" userId="17c626bb-ce18-4079-8178-d87f0118134e" providerId="ADAL" clId="{9684D8FF-B5F8-44FF-9A64-760426256ECB}" dt="2019-12-17T17:59:27.859" v="2231" actId="26606"/>
          <ac:spMkLst>
            <pc:docMk/>
            <pc:sldMk cId="2552728642" sldId="292"/>
            <ac:spMk id="10" creationId="{081E4A58-353D-44AE-B2FC-2A74E2E400F7}"/>
          </ac:spMkLst>
        </pc:spChg>
        <pc:graphicFrameChg chg="add mod">
          <ac:chgData name="Aurelia Etlin" userId="17c626bb-ce18-4079-8178-d87f0118134e" providerId="ADAL" clId="{9684D8FF-B5F8-44FF-9A64-760426256ECB}" dt="2019-12-17T18:04:15.234" v="2258"/>
          <ac:graphicFrameMkLst>
            <pc:docMk/>
            <pc:sldMk cId="2552728642" sldId="292"/>
            <ac:graphicFrameMk id="5" creationId="{E8CE24EE-A681-4BF6-8F0D-43F119224399}"/>
          </ac:graphicFrameMkLst>
        </pc:graphicFrameChg>
      </pc:sldChg>
      <pc:sldChg chg="addSp delSp modSp mod setBg">
        <pc:chgData name="Aurelia Etlin" userId="17c626bb-ce18-4079-8178-d87f0118134e" providerId="ADAL" clId="{9684D8FF-B5F8-44FF-9A64-760426256ECB}" dt="2019-12-17T18:04:45.298" v="2260" actId="26606"/>
        <pc:sldMkLst>
          <pc:docMk/>
          <pc:sldMk cId="4126203786" sldId="293"/>
        </pc:sldMkLst>
        <pc:spChg chg="mod">
          <ac:chgData name="Aurelia Etlin" userId="17c626bb-ce18-4079-8178-d87f0118134e" providerId="ADAL" clId="{9684D8FF-B5F8-44FF-9A64-760426256ECB}" dt="2019-12-17T18:04:45.298" v="2260" actId="26606"/>
          <ac:spMkLst>
            <pc:docMk/>
            <pc:sldMk cId="4126203786" sldId="293"/>
            <ac:spMk id="2" creationId="{99B1DD74-ECFF-4F6D-A99A-166E150EA5D9}"/>
          </ac:spMkLst>
        </pc:spChg>
        <pc:spChg chg="del mod">
          <ac:chgData name="Aurelia Etlin" userId="17c626bb-ce18-4079-8178-d87f0118134e" providerId="ADAL" clId="{9684D8FF-B5F8-44FF-9A64-760426256ECB}" dt="2019-12-17T18:04:45.298" v="2260" actId="26606"/>
          <ac:spMkLst>
            <pc:docMk/>
            <pc:sldMk cId="4126203786" sldId="293"/>
            <ac:spMk id="3" creationId="{397EFE3C-103F-468B-BBA2-1D8E61F543BB}"/>
          </ac:spMkLst>
        </pc:spChg>
        <pc:spChg chg="add">
          <ac:chgData name="Aurelia Etlin" userId="17c626bb-ce18-4079-8178-d87f0118134e" providerId="ADAL" clId="{9684D8FF-B5F8-44FF-9A64-760426256ECB}" dt="2019-12-17T18:04:45.298" v="2260" actId="26606"/>
          <ac:spMkLst>
            <pc:docMk/>
            <pc:sldMk cId="4126203786" sldId="293"/>
            <ac:spMk id="10" creationId="{46C2E80F-49A6-4372-B103-219D417A55ED}"/>
          </ac:spMkLst>
        </pc:spChg>
        <pc:graphicFrameChg chg="add">
          <ac:chgData name="Aurelia Etlin" userId="17c626bb-ce18-4079-8178-d87f0118134e" providerId="ADAL" clId="{9684D8FF-B5F8-44FF-9A64-760426256ECB}" dt="2019-12-17T18:04:45.298" v="2260" actId="26606"/>
          <ac:graphicFrameMkLst>
            <pc:docMk/>
            <pc:sldMk cId="4126203786" sldId="293"/>
            <ac:graphicFrameMk id="5" creationId="{A3A88AA6-5486-4882-9A28-AA292DE7EB2F}"/>
          </ac:graphicFrameMkLst>
        </pc:graphicFrameChg>
      </pc:sldChg>
      <pc:sldChg chg="modSp">
        <pc:chgData name="Aurelia Etlin" userId="17c626bb-ce18-4079-8178-d87f0118134e" providerId="ADAL" clId="{9684D8FF-B5F8-44FF-9A64-760426256ECB}" dt="2019-12-12T23:17:41.090" v="95" actId="1076"/>
        <pc:sldMkLst>
          <pc:docMk/>
          <pc:sldMk cId="1083707648" sldId="297"/>
        </pc:sldMkLst>
        <pc:spChg chg="mod">
          <ac:chgData name="Aurelia Etlin" userId="17c626bb-ce18-4079-8178-d87f0118134e" providerId="ADAL" clId="{9684D8FF-B5F8-44FF-9A64-760426256ECB}" dt="2019-12-12T23:17:38.749" v="94" actId="1076"/>
          <ac:spMkLst>
            <pc:docMk/>
            <pc:sldMk cId="1083707648" sldId="297"/>
            <ac:spMk id="3" creationId="{397EFE3C-103F-468B-BBA2-1D8E61F543BB}"/>
          </ac:spMkLst>
        </pc:spChg>
        <pc:picChg chg="mod">
          <ac:chgData name="Aurelia Etlin" userId="17c626bb-ce18-4079-8178-d87f0118134e" providerId="ADAL" clId="{9684D8FF-B5F8-44FF-9A64-760426256ECB}" dt="2019-12-12T23:17:41.090" v="95" actId="1076"/>
          <ac:picMkLst>
            <pc:docMk/>
            <pc:sldMk cId="1083707648" sldId="297"/>
            <ac:picMk id="8" creationId="{AA94A2E5-7566-4FB2-B61B-1236B7CFB0ED}"/>
          </ac:picMkLst>
        </pc:picChg>
      </pc:sldChg>
      <pc:sldChg chg="addSp delSp modSp mod setBg setClrOvrMap delDesignElem">
        <pc:chgData name="Aurelia Etlin" userId="17c626bb-ce18-4079-8178-d87f0118134e" providerId="ADAL" clId="{9684D8FF-B5F8-44FF-9A64-760426256ECB}" dt="2019-12-16T21:21:00.516" v="1691" actId="14100"/>
        <pc:sldMkLst>
          <pc:docMk/>
          <pc:sldMk cId="3622939285" sldId="299"/>
        </pc:sldMkLst>
        <pc:spChg chg="mod">
          <ac:chgData name="Aurelia Etlin" userId="17c626bb-ce18-4079-8178-d87f0118134e" providerId="ADAL" clId="{9684D8FF-B5F8-44FF-9A64-760426256ECB}" dt="2019-12-16T21:20:52.497" v="1688" actId="1076"/>
          <ac:spMkLst>
            <pc:docMk/>
            <pc:sldMk cId="3622939285" sldId="299"/>
            <ac:spMk id="2" creationId="{99B1DD74-ECFF-4F6D-A99A-166E150EA5D9}"/>
          </ac:spMkLst>
        </pc:spChg>
        <pc:spChg chg="del">
          <ac:chgData name="Aurelia Etlin" userId="17c626bb-ce18-4079-8178-d87f0118134e" providerId="ADAL" clId="{9684D8FF-B5F8-44FF-9A64-760426256ECB}" dt="2019-12-12T17:14:32.070" v="0" actId="26606"/>
          <ac:spMkLst>
            <pc:docMk/>
            <pc:sldMk cId="3622939285" sldId="299"/>
            <ac:spMk id="3" creationId="{397EFE3C-103F-468B-BBA2-1D8E61F543BB}"/>
          </ac:spMkLst>
        </pc:spChg>
        <pc:spChg chg="add del">
          <ac:chgData name="Aurelia Etlin" userId="17c626bb-ce18-4079-8178-d87f0118134e" providerId="ADAL" clId="{9684D8FF-B5F8-44FF-9A64-760426256ECB}" dt="2019-12-12T17:15:21.197" v="3" actId="26606"/>
          <ac:spMkLst>
            <pc:docMk/>
            <pc:sldMk cId="3622939285" sldId="299"/>
            <ac:spMk id="10" creationId="{07E773EB-1EC1-4E49-9DE2-E6F460497242}"/>
          </ac:spMkLst>
        </pc:spChg>
        <pc:spChg chg="add del">
          <ac:chgData name="Aurelia Etlin" userId="17c626bb-ce18-4079-8178-d87f0118134e" providerId="ADAL" clId="{9684D8FF-B5F8-44FF-9A64-760426256ECB}" dt="2019-12-12T17:15:59.929" v="5" actId="26606"/>
          <ac:spMkLst>
            <pc:docMk/>
            <pc:sldMk cId="3622939285" sldId="299"/>
            <ac:spMk id="71" creationId="{56C20283-73E0-40EC-8AD8-057F581F64C2}"/>
          </ac:spMkLst>
        </pc:spChg>
        <pc:spChg chg="add del">
          <ac:chgData name="Aurelia Etlin" userId="17c626bb-ce18-4079-8178-d87f0118134e" providerId="ADAL" clId="{9684D8FF-B5F8-44FF-9A64-760426256ECB}" dt="2019-12-12T17:15:59.929" v="5" actId="26606"/>
          <ac:spMkLst>
            <pc:docMk/>
            <pc:sldMk cId="3622939285" sldId="299"/>
            <ac:spMk id="73" creationId="{3FCC729B-E528-40C3-82D3-BA4375575E87}"/>
          </ac:spMkLst>
        </pc:spChg>
        <pc:spChg chg="add del">
          <ac:chgData name="Aurelia Etlin" userId="17c626bb-ce18-4079-8178-d87f0118134e" providerId="ADAL" clId="{9684D8FF-B5F8-44FF-9A64-760426256ECB}" dt="2019-12-12T17:15:59.929" v="5" actId="26606"/>
          <ac:spMkLst>
            <pc:docMk/>
            <pc:sldMk cId="3622939285" sldId="299"/>
            <ac:spMk id="75" creationId="{58F1FB8D-1842-4A04-998D-6CF047AB2790}"/>
          </ac:spMkLst>
        </pc:spChg>
        <pc:graphicFrameChg chg="add mod ord modGraphic">
          <ac:chgData name="Aurelia Etlin" userId="17c626bb-ce18-4079-8178-d87f0118134e" providerId="ADAL" clId="{9684D8FF-B5F8-44FF-9A64-760426256ECB}" dt="2019-12-16T21:21:00.516" v="1691" actId="14100"/>
          <ac:graphicFrameMkLst>
            <pc:docMk/>
            <pc:sldMk cId="3622939285" sldId="299"/>
            <ac:graphicFrameMk id="6" creationId="{C083413F-21CA-4D10-A4CB-5A4A4D7DD6CA}"/>
          </ac:graphicFrameMkLst>
        </pc:graphicFrameChg>
        <pc:picChg chg="add mod">
          <ac:chgData name="Aurelia Etlin" userId="17c626bb-ce18-4079-8178-d87f0118134e" providerId="ADAL" clId="{9684D8FF-B5F8-44FF-9A64-760426256ECB}" dt="2019-12-16T21:20:55.418" v="1689" actId="1076"/>
          <ac:picMkLst>
            <pc:docMk/>
            <pc:sldMk cId="3622939285" sldId="299"/>
            <ac:picMk id="12" creationId="{F3A585E7-DE9E-4579-B87B-26EBC217EBC1}"/>
          </ac:picMkLst>
        </pc:picChg>
        <pc:picChg chg="add del mod">
          <ac:chgData name="Aurelia Etlin" userId="17c626bb-ce18-4079-8178-d87f0118134e" providerId="ADAL" clId="{9684D8FF-B5F8-44FF-9A64-760426256ECB}" dt="2019-12-12T23:17:06.246" v="88" actId="478"/>
          <ac:picMkLst>
            <pc:docMk/>
            <pc:sldMk cId="3622939285" sldId="299"/>
            <ac:picMk id="1026" creationId="{B148A2F3-9124-4EE1-A5E8-862B2740817B}"/>
          </ac:picMkLst>
        </pc:picChg>
        <pc:cxnChg chg="add del">
          <ac:chgData name="Aurelia Etlin" userId="17c626bb-ce18-4079-8178-d87f0118134e" providerId="ADAL" clId="{9684D8FF-B5F8-44FF-9A64-760426256ECB}" dt="2019-12-13T02:11:08.626" v="155"/>
          <ac:cxnSpMkLst>
            <pc:docMk/>
            <pc:sldMk cId="3622939285" sldId="299"/>
            <ac:cxnSpMk id="76" creationId="{39B7FDC9-F0CE-43A7-9F2A-83DD09DC3453}"/>
          </ac:cxnSpMkLst>
        </pc:cxnChg>
        <pc:cxnChg chg="add del">
          <ac:chgData name="Aurelia Etlin" userId="17c626bb-ce18-4079-8178-d87f0118134e" providerId="ADAL" clId="{9684D8FF-B5F8-44FF-9A64-760426256ECB}" dt="2019-12-12T23:17:18.794" v="92" actId="26606"/>
          <ac:cxnSpMkLst>
            <pc:docMk/>
            <pc:sldMk cId="3622939285" sldId="299"/>
            <ac:cxnSpMk id="135" creationId="{39B7FDC9-F0CE-43A7-9F2A-83DD09DC3453}"/>
          </ac:cxnSpMkLst>
        </pc:cxnChg>
      </pc:sldChg>
      <pc:sldChg chg="modSp">
        <pc:chgData name="Aurelia Etlin" userId="17c626bb-ce18-4079-8178-d87f0118134e" providerId="ADAL" clId="{9684D8FF-B5F8-44FF-9A64-760426256ECB}" dt="2019-12-12T18:40:28.098" v="12" actId="20577"/>
        <pc:sldMkLst>
          <pc:docMk/>
          <pc:sldMk cId="3763808021" sldId="301"/>
        </pc:sldMkLst>
        <pc:spChg chg="mod">
          <ac:chgData name="Aurelia Etlin" userId="17c626bb-ce18-4079-8178-d87f0118134e" providerId="ADAL" clId="{9684D8FF-B5F8-44FF-9A64-760426256ECB}" dt="2019-12-12T18:40:28.098" v="12" actId="20577"/>
          <ac:spMkLst>
            <pc:docMk/>
            <pc:sldMk cId="3763808021" sldId="301"/>
            <ac:spMk id="2" creationId="{99B1DD74-ECFF-4F6D-A99A-166E150EA5D9}"/>
          </ac:spMkLst>
        </pc:spChg>
      </pc:sldChg>
      <pc:sldChg chg="addSp delSp modSp modNotesTx">
        <pc:chgData name="Aurelia Etlin" userId="17c626bb-ce18-4079-8178-d87f0118134e" providerId="ADAL" clId="{9684D8FF-B5F8-44FF-9A64-760426256ECB}" dt="2019-12-17T17:48:57.770" v="2196" actId="20577"/>
        <pc:sldMkLst>
          <pc:docMk/>
          <pc:sldMk cId="3384959494" sldId="302"/>
        </pc:sldMkLst>
        <pc:spChg chg="mod">
          <ac:chgData name="Aurelia Etlin" userId="17c626bb-ce18-4079-8178-d87f0118134e" providerId="ADAL" clId="{9684D8FF-B5F8-44FF-9A64-760426256ECB}" dt="2019-12-17T17:46:59.891" v="2182" actId="20577"/>
          <ac:spMkLst>
            <pc:docMk/>
            <pc:sldMk cId="3384959494" sldId="302"/>
            <ac:spMk id="2" creationId="{99B1DD74-ECFF-4F6D-A99A-166E150EA5D9}"/>
          </ac:spMkLst>
        </pc:spChg>
        <pc:spChg chg="del mod">
          <ac:chgData name="Aurelia Etlin" userId="17c626bb-ce18-4079-8178-d87f0118134e" providerId="ADAL" clId="{9684D8FF-B5F8-44FF-9A64-760426256ECB}" dt="2019-12-17T16:57:27.669" v="2005" actId="3680"/>
          <ac:spMkLst>
            <pc:docMk/>
            <pc:sldMk cId="3384959494" sldId="302"/>
            <ac:spMk id="3" creationId="{397EFE3C-103F-468B-BBA2-1D8E61F543BB}"/>
          </ac:spMkLst>
        </pc:spChg>
        <pc:graphicFrameChg chg="add mod ord modGraphic">
          <ac:chgData name="Aurelia Etlin" userId="17c626bb-ce18-4079-8178-d87f0118134e" providerId="ADAL" clId="{9684D8FF-B5F8-44FF-9A64-760426256ECB}" dt="2019-12-17T17:47:52.699" v="2187" actId="14100"/>
          <ac:graphicFrameMkLst>
            <pc:docMk/>
            <pc:sldMk cId="3384959494" sldId="302"/>
            <ac:graphicFrameMk id="5" creationId="{2D0C7D18-574F-4D63-8CAE-314FF7881A04}"/>
          </ac:graphicFrameMkLst>
        </pc:graphicFrameChg>
        <pc:picChg chg="add mod">
          <ac:chgData name="Aurelia Etlin" userId="17c626bb-ce18-4079-8178-d87f0118134e" providerId="ADAL" clId="{9684D8FF-B5F8-44FF-9A64-760426256ECB}" dt="2019-12-17T17:48:05.347" v="2189" actId="1076"/>
          <ac:picMkLst>
            <pc:docMk/>
            <pc:sldMk cId="3384959494" sldId="302"/>
            <ac:picMk id="4" creationId="{686ECA33-2E30-4215-819A-32D3F27F2EE1}"/>
          </ac:picMkLst>
        </pc:picChg>
      </pc:sldChg>
      <pc:sldChg chg="del">
        <pc:chgData name="Aurelia Etlin" userId="17c626bb-ce18-4079-8178-d87f0118134e" providerId="ADAL" clId="{9684D8FF-B5F8-44FF-9A64-760426256ECB}" dt="2019-12-17T22:38:17.819" v="2675" actId="47"/>
        <pc:sldMkLst>
          <pc:docMk/>
          <pc:sldMk cId="3859866392" sldId="303"/>
        </pc:sldMkLst>
      </pc:sldChg>
      <pc:sldChg chg="addSp delSp modSp mod setBg">
        <pc:chgData name="Aurelia Etlin" userId="17c626bb-ce18-4079-8178-d87f0118134e" providerId="ADAL" clId="{9684D8FF-B5F8-44FF-9A64-760426256ECB}" dt="2019-12-16T23:14:32.865" v="1982" actId="26606"/>
        <pc:sldMkLst>
          <pc:docMk/>
          <pc:sldMk cId="3300998201" sldId="304"/>
        </pc:sldMkLst>
        <pc:spChg chg="mod">
          <ac:chgData name="Aurelia Etlin" userId="17c626bb-ce18-4079-8178-d87f0118134e" providerId="ADAL" clId="{9684D8FF-B5F8-44FF-9A64-760426256ECB}" dt="2019-12-16T23:14:32.865" v="1982" actId="26606"/>
          <ac:spMkLst>
            <pc:docMk/>
            <pc:sldMk cId="3300998201" sldId="304"/>
            <ac:spMk id="2" creationId="{99B1DD74-ECFF-4F6D-A99A-166E150EA5D9}"/>
          </ac:spMkLst>
        </pc:spChg>
        <pc:spChg chg="add del mod">
          <ac:chgData name="Aurelia Etlin" userId="17c626bb-ce18-4079-8178-d87f0118134e" providerId="ADAL" clId="{9684D8FF-B5F8-44FF-9A64-760426256ECB}" dt="2019-12-16T23:14:22.879" v="1980" actId="26606"/>
          <ac:spMkLst>
            <pc:docMk/>
            <pc:sldMk cId="3300998201" sldId="304"/>
            <ac:spMk id="3" creationId="{397EFE3C-103F-468B-BBA2-1D8E61F543BB}"/>
          </ac:spMkLst>
        </pc:spChg>
        <pc:spChg chg="add del">
          <ac:chgData name="Aurelia Etlin" userId="17c626bb-ce18-4079-8178-d87f0118134e" providerId="ADAL" clId="{9684D8FF-B5F8-44FF-9A64-760426256ECB}" dt="2019-12-16T23:14:32.865" v="1982" actId="26606"/>
          <ac:spMkLst>
            <pc:docMk/>
            <pc:sldMk cId="3300998201" sldId="304"/>
            <ac:spMk id="6" creationId="{46C2E80F-49A6-4372-B103-219D417A55ED}"/>
          </ac:spMkLst>
        </pc:spChg>
        <pc:spChg chg="add del">
          <ac:chgData name="Aurelia Etlin" userId="17c626bb-ce18-4079-8178-d87f0118134e" providerId="ADAL" clId="{9684D8FF-B5F8-44FF-9A64-760426256ECB}" dt="2019-12-16T23:13:57.773" v="1977" actId="26606"/>
          <ac:spMkLst>
            <pc:docMk/>
            <pc:sldMk cId="3300998201" sldId="304"/>
            <ac:spMk id="10" creationId="{46C2E80F-49A6-4372-B103-219D417A55ED}"/>
          </ac:spMkLst>
        </pc:spChg>
        <pc:graphicFrameChg chg="add del">
          <ac:chgData name="Aurelia Etlin" userId="17c626bb-ce18-4079-8178-d87f0118134e" providerId="ADAL" clId="{9684D8FF-B5F8-44FF-9A64-760426256ECB}" dt="2019-12-16T23:13:57.773" v="1977" actId="26606"/>
          <ac:graphicFrameMkLst>
            <pc:docMk/>
            <pc:sldMk cId="3300998201" sldId="304"/>
            <ac:graphicFrameMk id="5" creationId="{874DEECD-8564-4DAA-901A-0A1B7ABDD1E8}"/>
          </ac:graphicFrameMkLst>
        </pc:graphicFrameChg>
        <pc:graphicFrameChg chg="add mod modGraphic">
          <ac:chgData name="Aurelia Etlin" userId="17c626bb-ce18-4079-8178-d87f0118134e" providerId="ADAL" clId="{9684D8FF-B5F8-44FF-9A64-760426256ECB}" dt="2019-12-16T23:14:32.865" v="1982" actId="26606"/>
          <ac:graphicFrameMkLst>
            <pc:docMk/>
            <pc:sldMk cId="3300998201" sldId="304"/>
            <ac:graphicFrameMk id="7" creationId="{512964B8-75CB-47E2-A010-A45FC94653A3}"/>
          </ac:graphicFrameMkLst>
        </pc:graphicFrameChg>
      </pc:sldChg>
      <pc:sldChg chg="modSp">
        <pc:chgData name="Aurelia Etlin" userId="17c626bb-ce18-4079-8178-d87f0118134e" providerId="ADAL" clId="{9684D8FF-B5F8-44FF-9A64-760426256ECB}" dt="2019-12-16T23:06:48.414" v="1908" actId="20577"/>
        <pc:sldMkLst>
          <pc:docMk/>
          <pc:sldMk cId="545992169" sldId="305"/>
        </pc:sldMkLst>
        <pc:spChg chg="mod">
          <ac:chgData name="Aurelia Etlin" userId="17c626bb-ce18-4079-8178-d87f0118134e" providerId="ADAL" clId="{9684D8FF-B5F8-44FF-9A64-760426256ECB}" dt="2019-12-16T23:06:48.414" v="1908" actId="20577"/>
          <ac:spMkLst>
            <pc:docMk/>
            <pc:sldMk cId="545992169" sldId="305"/>
            <ac:spMk id="2" creationId="{99B1DD74-ECFF-4F6D-A99A-166E150EA5D9}"/>
          </ac:spMkLst>
        </pc:spChg>
      </pc:sldChg>
      <pc:sldChg chg="modSp">
        <pc:chgData name="Aurelia Etlin" userId="17c626bb-ce18-4079-8178-d87f0118134e" providerId="ADAL" clId="{9684D8FF-B5F8-44FF-9A64-760426256ECB}" dt="2019-12-16T23:06:57.512" v="1909" actId="20577"/>
        <pc:sldMkLst>
          <pc:docMk/>
          <pc:sldMk cId="1032340612" sldId="306"/>
        </pc:sldMkLst>
        <pc:spChg chg="mod">
          <ac:chgData name="Aurelia Etlin" userId="17c626bb-ce18-4079-8178-d87f0118134e" providerId="ADAL" clId="{9684D8FF-B5F8-44FF-9A64-760426256ECB}" dt="2019-12-16T23:06:57.512" v="1909" actId="20577"/>
          <ac:spMkLst>
            <pc:docMk/>
            <pc:sldMk cId="1032340612" sldId="306"/>
            <ac:spMk id="2" creationId="{99B1DD74-ECFF-4F6D-A99A-166E150EA5D9}"/>
          </ac:spMkLst>
        </pc:spChg>
        <pc:spChg chg="mod">
          <ac:chgData name="Aurelia Etlin" userId="17c626bb-ce18-4079-8178-d87f0118134e" providerId="ADAL" clId="{9684D8FF-B5F8-44FF-9A64-760426256ECB}" dt="2019-12-16T23:04:51.414" v="1893" actId="20577"/>
          <ac:spMkLst>
            <pc:docMk/>
            <pc:sldMk cId="1032340612" sldId="306"/>
            <ac:spMk id="3" creationId="{397EFE3C-103F-468B-BBA2-1D8E61F543BB}"/>
          </ac:spMkLst>
        </pc:spChg>
      </pc:sldChg>
      <pc:sldChg chg="del">
        <pc:chgData name="Aurelia Etlin" userId="17c626bb-ce18-4079-8178-d87f0118134e" providerId="ADAL" clId="{9684D8FF-B5F8-44FF-9A64-760426256ECB}" dt="2019-12-16T21:30:58.085" v="1882" actId="47"/>
        <pc:sldMkLst>
          <pc:docMk/>
          <pc:sldMk cId="2551263609" sldId="307"/>
        </pc:sldMkLst>
      </pc:sldChg>
      <pc:sldChg chg="addSp modSp mod setBg">
        <pc:chgData name="Aurelia Etlin" userId="17c626bb-ce18-4079-8178-d87f0118134e" providerId="ADAL" clId="{9684D8FF-B5F8-44FF-9A64-760426256ECB}" dt="2019-12-17T22:39:01.474" v="2678" actId="20577"/>
        <pc:sldMkLst>
          <pc:docMk/>
          <pc:sldMk cId="3362945663" sldId="308"/>
        </pc:sldMkLst>
        <pc:spChg chg="mod">
          <ac:chgData name="Aurelia Etlin" userId="17c626bb-ce18-4079-8178-d87f0118134e" providerId="ADAL" clId="{9684D8FF-B5F8-44FF-9A64-760426256ECB}" dt="2019-12-13T13:03:51.516" v="448" actId="1076"/>
          <ac:spMkLst>
            <pc:docMk/>
            <pc:sldMk cId="3362945663" sldId="308"/>
            <ac:spMk id="2" creationId="{99B1DD74-ECFF-4F6D-A99A-166E150EA5D9}"/>
          </ac:spMkLst>
        </pc:spChg>
        <pc:spChg chg="mod">
          <ac:chgData name="Aurelia Etlin" userId="17c626bb-ce18-4079-8178-d87f0118134e" providerId="ADAL" clId="{9684D8FF-B5F8-44FF-9A64-760426256ECB}" dt="2019-12-13T13:04:01.082" v="449" actId="255"/>
          <ac:spMkLst>
            <pc:docMk/>
            <pc:sldMk cId="3362945663" sldId="308"/>
            <ac:spMk id="3" creationId="{397EFE3C-103F-468B-BBA2-1D8E61F543BB}"/>
          </ac:spMkLst>
        </pc:spChg>
        <pc:spChg chg="mod">
          <ac:chgData name="Aurelia Etlin" userId="17c626bb-ce18-4079-8178-d87f0118134e" providerId="ADAL" clId="{9684D8FF-B5F8-44FF-9A64-760426256ECB}" dt="2019-12-17T22:39:01.474" v="2678" actId="20577"/>
          <ac:spMkLst>
            <pc:docMk/>
            <pc:sldMk cId="3362945663" sldId="308"/>
            <ac:spMk id="6" creationId="{16DBAC1C-C38B-4AFE-BCFD-1F2D1E547455}"/>
          </ac:spMkLst>
        </pc:spChg>
        <pc:spChg chg="add">
          <ac:chgData name="Aurelia Etlin" userId="17c626bb-ce18-4079-8178-d87f0118134e" providerId="ADAL" clId="{9684D8FF-B5F8-44FF-9A64-760426256ECB}" dt="2019-12-13T13:03:21.318" v="442" actId="26606"/>
          <ac:spMkLst>
            <pc:docMk/>
            <pc:sldMk cId="3362945663" sldId="308"/>
            <ac:spMk id="12" creationId="{70BDD0CE-06A4-404B-8A13-580229C1C923}"/>
          </ac:spMkLst>
        </pc:spChg>
        <pc:spChg chg="add">
          <ac:chgData name="Aurelia Etlin" userId="17c626bb-ce18-4079-8178-d87f0118134e" providerId="ADAL" clId="{9684D8FF-B5F8-44FF-9A64-760426256ECB}" dt="2019-12-13T13:03:21.318" v="442" actId="26606"/>
          <ac:spMkLst>
            <pc:docMk/>
            <pc:sldMk cId="3362945663" sldId="308"/>
            <ac:spMk id="14" creationId="{EE9899FA-8881-472C-AA59-D08A89CA8AEF}"/>
          </ac:spMkLst>
        </pc:spChg>
        <pc:spChg chg="add">
          <ac:chgData name="Aurelia Etlin" userId="17c626bb-ce18-4079-8178-d87f0118134e" providerId="ADAL" clId="{9684D8FF-B5F8-44FF-9A64-760426256ECB}" dt="2019-12-13T13:03:21.318" v="442" actId="26606"/>
          <ac:spMkLst>
            <pc:docMk/>
            <pc:sldMk cId="3362945663" sldId="308"/>
            <ac:spMk id="16" creationId="{080B7D90-3DF1-4514-B26D-616BE35553C9}"/>
          </ac:spMkLst>
        </pc:spChg>
        <pc:picChg chg="mod">
          <ac:chgData name="Aurelia Etlin" userId="17c626bb-ce18-4079-8178-d87f0118134e" providerId="ADAL" clId="{9684D8FF-B5F8-44FF-9A64-760426256ECB}" dt="2019-12-13T13:04:37.378" v="456" actId="1076"/>
          <ac:picMkLst>
            <pc:docMk/>
            <pc:sldMk cId="3362945663" sldId="308"/>
            <ac:picMk id="4" creationId="{D65988B2-9FE5-4734-94E5-1020066605E4}"/>
          </ac:picMkLst>
        </pc:picChg>
        <pc:picChg chg="mod ord">
          <ac:chgData name="Aurelia Etlin" userId="17c626bb-ce18-4079-8178-d87f0118134e" providerId="ADAL" clId="{9684D8FF-B5F8-44FF-9A64-760426256ECB}" dt="2019-12-13T13:04:26.900" v="452" actId="14100"/>
          <ac:picMkLst>
            <pc:docMk/>
            <pc:sldMk cId="3362945663" sldId="308"/>
            <ac:picMk id="7" creationId="{1631C3FB-A857-4CB4-A2AE-BDE691854516}"/>
          </ac:picMkLst>
        </pc:picChg>
      </pc:sldChg>
      <pc:sldChg chg="addSp delSp modSp mod setBg">
        <pc:chgData name="Aurelia Etlin" userId="17c626bb-ce18-4079-8178-d87f0118134e" providerId="ADAL" clId="{9684D8FF-B5F8-44FF-9A64-760426256ECB}" dt="2019-12-13T22:39:35.482" v="1624" actId="14100"/>
        <pc:sldMkLst>
          <pc:docMk/>
          <pc:sldMk cId="499688128" sldId="310"/>
        </pc:sldMkLst>
        <pc:spChg chg="mod">
          <ac:chgData name="Aurelia Etlin" userId="17c626bb-ce18-4079-8178-d87f0118134e" providerId="ADAL" clId="{9684D8FF-B5F8-44FF-9A64-760426256ECB}" dt="2019-12-13T22:39:17.409" v="1622" actId="26606"/>
          <ac:spMkLst>
            <pc:docMk/>
            <pc:sldMk cId="499688128" sldId="310"/>
            <ac:spMk id="2" creationId="{99B1DD74-ECFF-4F6D-A99A-166E150EA5D9}"/>
          </ac:spMkLst>
        </pc:spChg>
        <pc:spChg chg="del">
          <ac:chgData name="Aurelia Etlin" userId="17c626bb-ce18-4079-8178-d87f0118134e" providerId="ADAL" clId="{9684D8FF-B5F8-44FF-9A64-760426256ECB}" dt="2019-12-13T22:39:17.409" v="1622" actId="26606"/>
          <ac:spMkLst>
            <pc:docMk/>
            <pc:sldMk cId="499688128" sldId="310"/>
            <ac:spMk id="3" creationId="{397EFE3C-103F-468B-BBA2-1D8E61F543BB}"/>
          </ac:spMkLst>
        </pc:spChg>
        <pc:spChg chg="add">
          <ac:chgData name="Aurelia Etlin" userId="17c626bb-ce18-4079-8178-d87f0118134e" providerId="ADAL" clId="{9684D8FF-B5F8-44FF-9A64-760426256ECB}" dt="2019-12-13T22:39:17.409" v="1622" actId="26606"/>
          <ac:spMkLst>
            <pc:docMk/>
            <pc:sldMk cId="499688128" sldId="310"/>
            <ac:spMk id="10" creationId="{A5711A0E-A428-4ED1-96CB-33D69FD842E4}"/>
          </ac:spMkLst>
        </pc:spChg>
        <pc:graphicFrameChg chg="add mod">
          <ac:chgData name="Aurelia Etlin" userId="17c626bb-ce18-4079-8178-d87f0118134e" providerId="ADAL" clId="{9684D8FF-B5F8-44FF-9A64-760426256ECB}" dt="2019-12-13T22:39:35.482" v="1624" actId="14100"/>
          <ac:graphicFrameMkLst>
            <pc:docMk/>
            <pc:sldMk cId="499688128" sldId="310"/>
            <ac:graphicFrameMk id="5" creationId="{3830F0AA-33B4-4FB0-9DE7-58BDE08DCD4B}"/>
          </ac:graphicFrameMkLst>
        </pc:graphicFrameChg>
      </pc:sldChg>
      <pc:sldChg chg="modSp">
        <pc:chgData name="Aurelia Etlin" userId="17c626bb-ce18-4079-8178-d87f0118134e" providerId="ADAL" clId="{9684D8FF-B5F8-44FF-9A64-760426256ECB}" dt="2019-12-13T22:46:35.546" v="1664" actId="1035"/>
        <pc:sldMkLst>
          <pc:docMk/>
          <pc:sldMk cId="3964919033" sldId="311"/>
        </pc:sldMkLst>
        <pc:spChg chg="mod">
          <ac:chgData name="Aurelia Etlin" userId="17c626bb-ce18-4079-8178-d87f0118134e" providerId="ADAL" clId="{9684D8FF-B5F8-44FF-9A64-760426256ECB}" dt="2019-12-13T22:45:26.900" v="1645" actId="5793"/>
          <ac:spMkLst>
            <pc:docMk/>
            <pc:sldMk cId="3964919033" sldId="311"/>
            <ac:spMk id="3" creationId="{397EFE3C-103F-468B-BBA2-1D8E61F543BB}"/>
          </ac:spMkLst>
        </pc:spChg>
        <pc:spChg chg="mod">
          <ac:chgData name="Aurelia Etlin" userId="17c626bb-ce18-4079-8178-d87f0118134e" providerId="ADAL" clId="{9684D8FF-B5F8-44FF-9A64-760426256ECB}" dt="2019-12-13T22:46:24.381" v="1646" actId="1076"/>
          <ac:spMkLst>
            <pc:docMk/>
            <pc:sldMk cId="3964919033" sldId="311"/>
            <ac:spMk id="9" creationId="{7320F0E7-1504-4FA5-8A2A-AD76536D4590}"/>
          </ac:spMkLst>
        </pc:spChg>
        <pc:spChg chg="mod">
          <ac:chgData name="Aurelia Etlin" userId="17c626bb-ce18-4079-8178-d87f0118134e" providerId="ADAL" clId="{9684D8FF-B5F8-44FF-9A64-760426256ECB}" dt="2019-12-13T22:46:24.381" v="1646" actId="1076"/>
          <ac:spMkLst>
            <pc:docMk/>
            <pc:sldMk cId="3964919033" sldId="311"/>
            <ac:spMk id="12" creationId="{D6815E18-00E9-442D-9F7E-084E709653A3}"/>
          </ac:spMkLst>
        </pc:spChg>
        <pc:grpChg chg="mod">
          <ac:chgData name="Aurelia Etlin" userId="17c626bb-ce18-4079-8178-d87f0118134e" providerId="ADAL" clId="{9684D8FF-B5F8-44FF-9A64-760426256ECB}" dt="2019-12-13T22:46:35.546" v="1664" actId="1035"/>
          <ac:grpSpMkLst>
            <pc:docMk/>
            <pc:sldMk cId="3964919033" sldId="311"/>
            <ac:grpSpMk id="16" creationId="{E03FFFDD-9C1A-4A92-8EC3-D942DD4BDA5E}"/>
          </ac:grpSpMkLst>
        </pc:grpChg>
        <pc:picChg chg="mod">
          <ac:chgData name="Aurelia Etlin" userId="17c626bb-ce18-4079-8178-d87f0118134e" providerId="ADAL" clId="{9684D8FF-B5F8-44FF-9A64-760426256ECB}" dt="2019-12-13T22:46:24.381" v="1646" actId="1076"/>
          <ac:picMkLst>
            <pc:docMk/>
            <pc:sldMk cId="3964919033" sldId="311"/>
            <ac:picMk id="5" creationId="{3C8427D4-14F6-4175-97F3-A77DD36AD6F6}"/>
          </ac:picMkLst>
        </pc:picChg>
        <pc:picChg chg="mod">
          <ac:chgData name="Aurelia Etlin" userId="17c626bb-ce18-4079-8178-d87f0118134e" providerId="ADAL" clId="{9684D8FF-B5F8-44FF-9A64-760426256ECB}" dt="2019-12-13T22:46:24.381" v="1646" actId="1076"/>
          <ac:picMkLst>
            <pc:docMk/>
            <pc:sldMk cId="3964919033" sldId="311"/>
            <ac:picMk id="14" creationId="{3613316C-79E8-4866-BEAC-625444390059}"/>
          </ac:picMkLst>
        </pc:picChg>
        <pc:picChg chg="mod">
          <ac:chgData name="Aurelia Etlin" userId="17c626bb-ce18-4079-8178-d87f0118134e" providerId="ADAL" clId="{9684D8FF-B5F8-44FF-9A64-760426256ECB}" dt="2019-12-13T22:46:24.381" v="1646" actId="1076"/>
          <ac:picMkLst>
            <pc:docMk/>
            <pc:sldMk cId="3964919033" sldId="311"/>
            <ac:picMk id="15" creationId="{F7A71462-C18B-4492-93DC-6CE1C9EC39DB}"/>
          </ac:picMkLst>
        </pc:picChg>
      </pc:sldChg>
      <pc:sldChg chg="del">
        <pc:chgData name="Aurelia Etlin" userId="17c626bb-ce18-4079-8178-d87f0118134e" providerId="ADAL" clId="{9684D8FF-B5F8-44FF-9A64-760426256ECB}" dt="2019-12-17T22:38:47.951" v="2676" actId="47"/>
        <pc:sldMkLst>
          <pc:docMk/>
          <pc:sldMk cId="3469446945" sldId="314"/>
        </pc:sldMkLst>
      </pc:sldChg>
      <pc:sldChg chg="modSp">
        <pc:chgData name="Aurelia Etlin" userId="17c626bb-ce18-4079-8178-d87f0118134e" providerId="ADAL" clId="{9684D8FF-B5F8-44FF-9A64-760426256ECB}" dt="2019-12-13T22:57:22.580" v="1670" actId="1076"/>
        <pc:sldMkLst>
          <pc:docMk/>
          <pc:sldMk cId="3638440985" sldId="315"/>
        </pc:sldMkLst>
        <pc:spChg chg="mod">
          <ac:chgData name="Aurelia Etlin" userId="17c626bb-ce18-4079-8178-d87f0118134e" providerId="ADAL" clId="{9684D8FF-B5F8-44FF-9A64-760426256ECB}" dt="2019-12-13T22:57:02.583" v="1669" actId="14100"/>
          <ac:spMkLst>
            <pc:docMk/>
            <pc:sldMk cId="3638440985" sldId="315"/>
            <ac:spMk id="3" creationId="{397EFE3C-103F-468B-BBA2-1D8E61F543BB}"/>
          </ac:spMkLst>
        </pc:spChg>
        <pc:spChg chg="mod">
          <ac:chgData name="Aurelia Etlin" userId="17c626bb-ce18-4079-8178-d87f0118134e" providerId="ADAL" clId="{9684D8FF-B5F8-44FF-9A64-760426256ECB}" dt="2019-12-13T22:57:22.580" v="1670" actId="1076"/>
          <ac:spMkLst>
            <pc:docMk/>
            <pc:sldMk cId="3638440985" sldId="315"/>
            <ac:spMk id="16" creationId="{D75E0AF4-A009-4906-9FF8-67000EFFE5B6}"/>
          </ac:spMkLst>
        </pc:spChg>
        <pc:spChg chg="mod">
          <ac:chgData name="Aurelia Etlin" userId="17c626bb-ce18-4079-8178-d87f0118134e" providerId="ADAL" clId="{9684D8FF-B5F8-44FF-9A64-760426256ECB}" dt="2019-12-13T22:57:22.580" v="1670" actId="1076"/>
          <ac:spMkLst>
            <pc:docMk/>
            <pc:sldMk cId="3638440985" sldId="315"/>
            <ac:spMk id="17" creationId="{BFDC7AA0-84E6-445F-9A4C-F2EE2F9B2759}"/>
          </ac:spMkLst>
        </pc:spChg>
        <pc:grpChg chg="mod">
          <ac:chgData name="Aurelia Etlin" userId="17c626bb-ce18-4079-8178-d87f0118134e" providerId="ADAL" clId="{9684D8FF-B5F8-44FF-9A64-760426256ECB}" dt="2019-12-13T22:57:22.580" v="1670" actId="1076"/>
          <ac:grpSpMkLst>
            <pc:docMk/>
            <pc:sldMk cId="3638440985" sldId="315"/>
            <ac:grpSpMk id="18" creationId="{9EEB00AB-0BA3-47AE-AEB2-43815CAFE513}"/>
          </ac:grpSpMkLst>
        </pc:grpChg>
        <pc:grpChg chg="mod">
          <ac:chgData name="Aurelia Etlin" userId="17c626bb-ce18-4079-8178-d87f0118134e" providerId="ADAL" clId="{9684D8FF-B5F8-44FF-9A64-760426256ECB}" dt="2019-12-13T22:57:22.580" v="1670" actId="1076"/>
          <ac:grpSpMkLst>
            <pc:docMk/>
            <pc:sldMk cId="3638440985" sldId="315"/>
            <ac:grpSpMk id="21" creationId="{EBD01483-F80F-475A-8F2C-04059E012180}"/>
          </ac:grpSpMkLst>
        </pc:grpChg>
        <pc:picChg chg="mod">
          <ac:chgData name="Aurelia Etlin" userId="17c626bb-ce18-4079-8178-d87f0118134e" providerId="ADAL" clId="{9684D8FF-B5F8-44FF-9A64-760426256ECB}" dt="2019-12-13T22:57:22.580" v="1670" actId="1076"/>
          <ac:picMkLst>
            <pc:docMk/>
            <pc:sldMk cId="3638440985" sldId="315"/>
            <ac:picMk id="7" creationId="{80AB2DD3-1411-4288-B493-C57D01FCCCB9}"/>
          </ac:picMkLst>
        </pc:picChg>
        <pc:picChg chg="mod">
          <ac:chgData name="Aurelia Etlin" userId="17c626bb-ce18-4079-8178-d87f0118134e" providerId="ADAL" clId="{9684D8FF-B5F8-44FF-9A64-760426256ECB}" dt="2019-12-13T22:57:22.580" v="1670" actId="1076"/>
          <ac:picMkLst>
            <pc:docMk/>
            <pc:sldMk cId="3638440985" sldId="315"/>
            <ac:picMk id="8" creationId="{19EE39B5-6008-423A-A516-28B7C373E49E}"/>
          </ac:picMkLst>
        </pc:picChg>
        <pc:picChg chg="mod">
          <ac:chgData name="Aurelia Etlin" userId="17c626bb-ce18-4079-8178-d87f0118134e" providerId="ADAL" clId="{9684D8FF-B5F8-44FF-9A64-760426256ECB}" dt="2019-12-13T22:57:22.580" v="1670" actId="1076"/>
          <ac:picMkLst>
            <pc:docMk/>
            <pc:sldMk cId="3638440985" sldId="315"/>
            <ac:picMk id="9" creationId="{C9797BB1-2DA4-4CB6-A316-F2CA5E77344B}"/>
          </ac:picMkLst>
        </pc:picChg>
        <pc:picChg chg="mod">
          <ac:chgData name="Aurelia Etlin" userId="17c626bb-ce18-4079-8178-d87f0118134e" providerId="ADAL" clId="{9684D8FF-B5F8-44FF-9A64-760426256ECB}" dt="2019-12-13T22:57:22.580" v="1670" actId="1076"/>
          <ac:picMkLst>
            <pc:docMk/>
            <pc:sldMk cId="3638440985" sldId="315"/>
            <ac:picMk id="24" creationId="{AD258319-A648-404A-AB68-D173BF0F0790}"/>
          </ac:picMkLst>
        </pc:picChg>
        <pc:cxnChg chg="mod">
          <ac:chgData name="Aurelia Etlin" userId="17c626bb-ce18-4079-8178-d87f0118134e" providerId="ADAL" clId="{9684D8FF-B5F8-44FF-9A64-760426256ECB}" dt="2019-12-13T22:57:22.580" v="1670" actId="1076"/>
          <ac:cxnSpMkLst>
            <pc:docMk/>
            <pc:sldMk cId="3638440985" sldId="315"/>
            <ac:cxnSpMk id="15" creationId="{E2E0EA40-32AF-488A-B81B-C517DCD5A471}"/>
          </ac:cxnSpMkLst>
        </pc:cxnChg>
      </pc:sldChg>
      <pc:sldChg chg="modSp">
        <pc:chgData name="Aurelia Etlin" userId="17c626bb-ce18-4079-8178-d87f0118134e" providerId="ADAL" clId="{9684D8FF-B5F8-44FF-9A64-760426256ECB}" dt="2019-12-13T22:42:18.142" v="1628" actId="5793"/>
        <pc:sldMkLst>
          <pc:docMk/>
          <pc:sldMk cId="1570356046" sldId="317"/>
        </pc:sldMkLst>
        <pc:spChg chg="mod">
          <ac:chgData name="Aurelia Etlin" userId="17c626bb-ce18-4079-8178-d87f0118134e" providerId="ADAL" clId="{9684D8FF-B5F8-44FF-9A64-760426256ECB}" dt="2019-12-13T22:42:18.142" v="1628" actId="5793"/>
          <ac:spMkLst>
            <pc:docMk/>
            <pc:sldMk cId="1570356046" sldId="317"/>
            <ac:spMk id="3" creationId="{397EFE3C-103F-468B-BBA2-1D8E61F543BB}"/>
          </ac:spMkLst>
        </pc:spChg>
      </pc:sldChg>
      <pc:sldChg chg="addSp delSp modSp mod setBg">
        <pc:chgData name="Aurelia Etlin" userId="17c626bb-ce18-4079-8178-d87f0118134e" providerId="ADAL" clId="{9684D8FF-B5F8-44FF-9A64-760426256ECB}" dt="2019-12-13T22:44:24.218" v="1635" actId="255"/>
        <pc:sldMkLst>
          <pc:docMk/>
          <pc:sldMk cId="2881118401" sldId="318"/>
        </pc:sldMkLst>
        <pc:spChg chg="mod">
          <ac:chgData name="Aurelia Etlin" userId="17c626bb-ce18-4079-8178-d87f0118134e" providerId="ADAL" clId="{9684D8FF-B5F8-44FF-9A64-760426256ECB}" dt="2019-12-13T22:43:31.655" v="1631" actId="26606"/>
          <ac:spMkLst>
            <pc:docMk/>
            <pc:sldMk cId="2881118401" sldId="318"/>
            <ac:spMk id="2" creationId="{99B1DD74-ECFF-4F6D-A99A-166E150EA5D9}"/>
          </ac:spMkLst>
        </pc:spChg>
        <pc:spChg chg="add del">
          <ac:chgData name="Aurelia Etlin" userId="17c626bb-ce18-4079-8178-d87f0118134e" providerId="ADAL" clId="{9684D8FF-B5F8-44FF-9A64-760426256ECB}" dt="2019-12-13T22:43:31.655" v="1631" actId="26606"/>
          <ac:spMkLst>
            <pc:docMk/>
            <pc:sldMk cId="2881118401" sldId="318"/>
            <ac:spMk id="3" creationId="{397EFE3C-103F-468B-BBA2-1D8E61F543BB}"/>
          </ac:spMkLst>
        </pc:spChg>
        <pc:graphicFrameChg chg="add del">
          <ac:chgData name="Aurelia Etlin" userId="17c626bb-ce18-4079-8178-d87f0118134e" providerId="ADAL" clId="{9684D8FF-B5F8-44FF-9A64-760426256ECB}" dt="2019-12-13T22:43:14.741" v="1630" actId="26606"/>
          <ac:graphicFrameMkLst>
            <pc:docMk/>
            <pc:sldMk cId="2881118401" sldId="318"/>
            <ac:graphicFrameMk id="5" creationId="{848C82EB-D388-4CF8-A513-0E566B7831BE}"/>
          </ac:graphicFrameMkLst>
        </pc:graphicFrameChg>
        <pc:graphicFrameChg chg="add mod modGraphic">
          <ac:chgData name="Aurelia Etlin" userId="17c626bb-ce18-4079-8178-d87f0118134e" providerId="ADAL" clId="{9684D8FF-B5F8-44FF-9A64-760426256ECB}" dt="2019-12-13T22:44:24.218" v="1635" actId="255"/>
          <ac:graphicFrameMkLst>
            <pc:docMk/>
            <pc:sldMk cId="2881118401" sldId="318"/>
            <ac:graphicFrameMk id="6" creationId="{EA050EC4-349A-4943-A36B-EFF57F9658CE}"/>
          </ac:graphicFrameMkLst>
        </pc:graphicFrameChg>
      </pc:sldChg>
      <pc:sldChg chg="addSp modSp">
        <pc:chgData name="Aurelia Etlin" userId="17c626bb-ce18-4079-8178-d87f0118134e" providerId="ADAL" clId="{9684D8FF-B5F8-44FF-9A64-760426256ECB}" dt="2019-12-16T21:26:38.907" v="1710" actId="1076"/>
        <pc:sldMkLst>
          <pc:docMk/>
          <pc:sldMk cId="1869636694" sldId="319"/>
        </pc:sldMkLst>
        <pc:picChg chg="add mod">
          <ac:chgData name="Aurelia Etlin" userId="17c626bb-ce18-4079-8178-d87f0118134e" providerId="ADAL" clId="{9684D8FF-B5F8-44FF-9A64-760426256ECB}" dt="2019-12-16T21:26:38.907" v="1710" actId="1076"/>
          <ac:picMkLst>
            <pc:docMk/>
            <pc:sldMk cId="1869636694" sldId="319"/>
            <ac:picMk id="1026" creationId="{31BA3880-CA5A-405D-892F-C04EDAF87B70}"/>
          </ac:picMkLst>
        </pc:picChg>
      </pc:sldChg>
      <pc:sldChg chg="addSp modSp mod modTransition setBg modNotesTx">
        <pc:chgData name="Aurelia Etlin" userId="17c626bb-ce18-4079-8178-d87f0118134e" providerId="ADAL" clId="{9684D8FF-B5F8-44FF-9A64-760426256ECB}" dt="2019-12-17T22:43:05.574" v="2710"/>
        <pc:sldMkLst>
          <pc:docMk/>
          <pc:sldMk cId="1922786107" sldId="321"/>
        </pc:sldMkLst>
        <pc:spChg chg="mod">
          <ac:chgData name="Aurelia Etlin" userId="17c626bb-ce18-4079-8178-d87f0118134e" providerId="ADAL" clId="{9684D8FF-B5F8-44FF-9A64-760426256ECB}" dt="2019-12-17T18:54:30.897" v="2672" actId="26606"/>
          <ac:spMkLst>
            <pc:docMk/>
            <pc:sldMk cId="1922786107" sldId="321"/>
            <ac:spMk id="2" creationId="{99B1DD74-ECFF-4F6D-A99A-166E150EA5D9}"/>
          </ac:spMkLst>
        </pc:spChg>
        <pc:spChg chg="mod">
          <ac:chgData name="Aurelia Etlin" userId="17c626bb-ce18-4079-8178-d87f0118134e" providerId="ADAL" clId="{9684D8FF-B5F8-44FF-9A64-760426256ECB}" dt="2019-12-17T18:54:30.897" v="2672" actId="26606"/>
          <ac:spMkLst>
            <pc:docMk/>
            <pc:sldMk cId="1922786107" sldId="321"/>
            <ac:spMk id="3" creationId="{397EFE3C-103F-468B-BBA2-1D8E61F543BB}"/>
          </ac:spMkLst>
        </pc:spChg>
        <pc:picChg chg="add mod">
          <ac:chgData name="Aurelia Etlin" userId="17c626bb-ce18-4079-8178-d87f0118134e" providerId="ADAL" clId="{9684D8FF-B5F8-44FF-9A64-760426256ECB}" dt="2019-12-17T18:54:42.137" v="2674" actId="1076"/>
          <ac:picMkLst>
            <pc:docMk/>
            <pc:sldMk cId="1922786107" sldId="321"/>
            <ac:picMk id="1026" creationId="{7196C7AE-3676-4A4E-9B43-8E99EFD17131}"/>
          </ac:picMkLst>
        </pc:picChg>
      </pc:sldChg>
      <pc:sldChg chg="addSp delSp modSp mod setBg">
        <pc:chgData name="Aurelia Etlin" userId="17c626bb-ce18-4079-8178-d87f0118134e" providerId="ADAL" clId="{9684D8FF-B5F8-44FF-9A64-760426256ECB}" dt="2019-12-17T17:56:34.221" v="2229" actId="255"/>
        <pc:sldMkLst>
          <pc:docMk/>
          <pc:sldMk cId="2587053863" sldId="322"/>
        </pc:sldMkLst>
        <pc:spChg chg="mod">
          <ac:chgData name="Aurelia Etlin" userId="17c626bb-ce18-4079-8178-d87f0118134e" providerId="ADAL" clId="{9684D8FF-B5F8-44FF-9A64-760426256ECB}" dt="2019-12-17T17:54:22.957" v="2221" actId="26606"/>
          <ac:spMkLst>
            <pc:docMk/>
            <pc:sldMk cId="2587053863" sldId="322"/>
            <ac:spMk id="2" creationId="{99B1DD74-ECFF-4F6D-A99A-166E150EA5D9}"/>
          </ac:spMkLst>
        </pc:spChg>
        <pc:spChg chg="mod ord">
          <ac:chgData name="Aurelia Etlin" userId="17c626bb-ce18-4079-8178-d87f0118134e" providerId="ADAL" clId="{9684D8FF-B5F8-44FF-9A64-760426256ECB}" dt="2019-12-17T17:56:34.221" v="2229" actId="255"/>
          <ac:spMkLst>
            <pc:docMk/>
            <pc:sldMk cId="2587053863" sldId="322"/>
            <ac:spMk id="3" creationId="{397EFE3C-103F-468B-BBA2-1D8E61F543BB}"/>
          </ac:spMkLst>
        </pc:spChg>
        <pc:spChg chg="add del">
          <ac:chgData name="Aurelia Etlin" userId="17c626bb-ce18-4079-8178-d87f0118134e" providerId="ADAL" clId="{9684D8FF-B5F8-44FF-9A64-760426256ECB}" dt="2019-12-13T15:58:57.283" v="785" actId="26606"/>
          <ac:spMkLst>
            <pc:docMk/>
            <pc:sldMk cId="2587053863" sldId="322"/>
            <ac:spMk id="9" creationId="{92468898-5A6E-4D55-85EC-308E785EE06C}"/>
          </ac:spMkLst>
        </pc:spChg>
        <pc:spChg chg="add del">
          <ac:chgData name="Aurelia Etlin" userId="17c626bb-ce18-4079-8178-d87f0118134e" providerId="ADAL" clId="{9684D8FF-B5F8-44FF-9A64-760426256ECB}" dt="2019-12-13T15:58:57.283" v="785" actId="26606"/>
          <ac:spMkLst>
            <pc:docMk/>
            <pc:sldMk cId="2587053863" sldId="322"/>
            <ac:spMk id="11" creationId="{3E23A947-2D45-4208-AE2B-64948C87A3EB}"/>
          </ac:spMkLst>
        </pc:spChg>
        <pc:spChg chg="add del">
          <ac:chgData name="Aurelia Etlin" userId="17c626bb-ce18-4079-8178-d87f0118134e" providerId="ADAL" clId="{9684D8FF-B5F8-44FF-9A64-760426256ECB}" dt="2019-12-13T15:58:57.283" v="785" actId="26606"/>
          <ac:spMkLst>
            <pc:docMk/>
            <pc:sldMk cId="2587053863" sldId="322"/>
            <ac:spMk id="13" creationId="{E5BBB0F9-6A59-4D02-A9C7-A2D6516684CE}"/>
          </ac:spMkLst>
        </pc:spChg>
        <pc:spChg chg="add">
          <ac:chgData name="Aurelia Etlin" userId="17c626bb-ce18-4079-8178-d87f0118134e" providerId="ADAL" clId="{9684D8FF-B5F8-44FF-9A64-760426256ECB}" dt="2019-12-17T17:54:22.957" v="2221" actId="26606"/>
          <ac:spMkLst>
            <pc:docMk/>
            <pc:sldMk cId="2587053863" sldId="322"/>
            <ac:spMk id="20" creationId="{92468898-5A6E-4D55-85EC-308E785EE06C}"/>
          </ac:spMkLst>
        </pc:spChg>
        <pc:spChg chg="add">
          <ac:chgData name="Aurelia Etlin" userId="17c626bb-ce18-4079-8178-d87f0118134e" providerId="ADAL" clId="{9684D8FF-B5F8-44FF-9A64-760426256ECB}" dt="2019-12-17T17:54:22.957" v="2221" actId="26606"/>
          <ac:spMkLst>
            <pc:docMk/>
            <pc:sldMk cId="2587053863" sldId="322"/>
            <ac:spMk id="22" creationId="{3E23A947-2D45-4208-AE2B-64948C87A3EB}"/>
          </ac:spMkLst>
        </pc:spChg>
        <pc:spChg chg="add">
          <ac:chgData name="Aurelia Etlin" userId="17c626bb-ce18-4079-8178-d87f0118134e" providerId="ADAL" clId="{9684D8FF-B5F8-44FF-9A64-760426256ECB}" dt="2019-12-17T17:54:22.957" v="2221" actId="26606"/>
          <ac:spMkLst>
            <pc:docMk/>
            <pc:sldMk cId="2587053863" sldId="322"/>
            <ac:spMk id="24" creationId="{E5BBB0F9-6A59-4D02-A9C7-A2D6516684CE}"/>
          </ac:spMkLst>
        </pc:spChg>
        <pc:picChg chg="mod">
          <ac:chgData name="Aurelia Etlin" userId="17c626bb-ce18-4079-8178-d87f0118134e" providerId="ADAL" clId="{9684D8FF-B5F8-44FF-9A64-760426256ECB}" dt="2019-12-17T17:55:01.729" v="2227" actId="14100"/>
          <ac:picMkLst>
            <pc:docMk/>
            <pc:sldMk cId="2587053863" sldId="322"/>
            <ac:picMk id="4" creationId="{3CBC4D70-DCEB-41B4-A003-D3AF845F2E96}"/>
          </ac:picMkLst>
        </pc:picChg>
        <pc:cxnChg chg="add del">
          <ac:chgData name="Aurelia Etlin" userId="17c626bb-ce18-4079-8178-d87f0118134e" providerId="ADAL" clId="{9684D8FF-B5F8-44FF-9A64-760426256ECB}" dt="2019-12-17T17:54:22.957" v="2221" actId="26606"/>
          <ac:cxnSpMkLst>
            <pc:docMk/>
            <pc:sldMk cId="2587053863" sldId="322"/>
            <ac:cxnSpMk id="15" creationId="{39B7FDC9-F0CE-43A7-9F2A-83DD09DC3453}"/>
          </ac:cxnSpMkLst>
        </pc:cxnChg>
      </pc:sldChg>
      <pc:sldChg chg="modSp">
        <pc:chgData name="Aurelia Etlin" userId="17c626bb-ce18-4079-8178-d87f0118134e" providerId="ADAL" clId="{9684D8FF-B5F8-44FF-9A64-760426256ECB}" dt="2019-12-16T23:11:17.078" v="1945" actId="20577"/>
        <pc:sldMkLst>
          <pc:docMk/>
          <pc:sldMk cId="3111144912" sldId="323"/>
        </pc:sldMkLst>
        <pc:spChg chg="mod">
          <ac:chgData name="Aurelia Etlin" userId="17c626bb-ce18-4079-8178-d87f0118134e" providerId="ADAL" clId="{9684D8FF-B5F8-44FF-9A64-760426256ECB}" dt="2019-12-16T23:11:13.110" v="1944" actId="20577"/>
          <ac:spMkLst>
            <pc:docMk/>
            <pc:sldMk cId="3111144912" sldId="323"/>
            <ac:spMk id="2" creationId="{99B1DD74-ECFF-4F6D-A99A-166E150EA5D9}"/>
          </ac:spMkLst>
        </pc:spChg>
        <pc:spChg chg="mod">
          <ac:chgData name="Aurelia Etlin" userId="17c626bb-ce18-4079-8178-d87f0118134e" providerId="ADAL" clId="{9684D8FF-B5F8-44FF-9A64-760426256ECB}" dt="2019-12-16T23:11:17.078" v="1945" actId="20577"/>
          <ac:spMkLst>
            <pc:docMk/>
            <pc:sldMk cId="3111144912" sldId="323"/>
            <ac:spMk id="3" creationId="{397EFE3C-103F-468B-BBA2-1D8E61F543BB}"/>
          </ac:spMkLst>
        </pc:spChg>
      </pc:sldChg>
      <pc:sldChg chg="addSp delSp modSp modNotesTx">
        <pc:chgData name="Aurelia Etlin" userId="17c626bb-ce18-4079-8178-d87f0118134e" providerId="ADAL" clId="{9684D8FF-B5F8-44FF-9A64-760426256ECB}" dt="2019-12-17T18:48:07.320" v="2555" actId="14100"/>
        <pc:sldMkLst>
          <pc:docMk/>
          <pc:sldMk cId="1303914512" sldId="324"/>
        </pc:sldMkLst>
        <pc:spChg chg="mod">
          <ac:chgData name="Aurelia Etlin" userId="17c626bb-ce18-4079-8178-d87f0118134e" providerId="ADAL" clId="{9684D8FF-B5F8-44FF-9A64-760426256ECB}" dt="2019-12-17T18:45:40.823" v="2530" actId="1076"/>
          <ac:spMkLst>
            <pc:docMk/>
            <pc:sldMk cId="1303914512" sldId="324"/>
            <ac:spMk id="3" creationId="{397EFE3C-103F-468B-BBA2-1D8E61F543BB}"/>
          </ac:spMkLst>
        </pc:spChg>
        <pc:spChg chg="add mod">
          <ac:chgData name="Aurelia Etlin" userId="17c626bb-ce18-4079-8178-d87f0118134e" providerId="ADAL" clId="{9684D8FF-B5F8-44FF-9A64-760426256ECB}" dt="2019-12-17T18:47:44.562" v="2552" actId="20577"/>
          <ac:spMkLst>
            <pc:docMk/>
            <pc:sldMk cId="1303914512" sldId="324"/>
            <ac:spMk id="4" creationId="{49BFADD7-C333-4430-BA88-7BB6FD1673F0}"/>
          </ac:spMkLst>
        </pc:spChg>
        <pc:spChg chg="add del mod">
          <ac:chgData name="Aurelia Etlin" userId="17c626bb-ce18-4079-8178-d87f0118134e" providerId="ADAL" clId="{9684D8FF-B5F8-44FF-9A64-760426256ECB}" dt="2019-12-17T18:42:44.846" v="2503" actId="478"/>
          <ac:spMkLst>
            <pc:docMk/>
            <pc:sldMk cId="1303914512" sldId="324"/>
            <ac:spMk id="5" creationId="{16F6CD05-23B1-4DC5-9DDC-A9AB99463746}"/>
          </ac:spMkLst>
        </pc:spChg>
        <pc:picChg chg="add mod">
          <ac:chgData name="Aurelia Etlin" userId="17c626bb-ce18-4079-8178-d87f0118134e" providerId="ADAL" clId="{9684D8FF-B5F8-44FF-9A64-760426256ECB}" dt="2019-12-17T18:45:44.723" v="2531" actId="1076"/>
          <ac:picMkLst>
            <pc:docMk/>
            <pc:sldMk cId="1303914512" sldId="324"/>
            <ac:picMk id="2050" creationId="{60EA0EAC-4E98-44EE-BB3E-8A18A63B15BB}"/>
          </ac:picMkLst>
        </pc:picChg>
        <pc:picChg chg="add mod">
          <ac:chgData name="Aurelia Etlin" userId="17c626bb-ce18-4079-8178-d87f0118134e" providerId="ADAL" clId="{9684D8FF-B5F8-44FF-9A64-760426256ECB}" dt="2019-12-17T18:45:49.756" v="2532" actId="1076"/>
          <ac:picMkLst>
            <pc:docMk/>
            <pc:sldMk cId="1303914512" sldId="324"/>
            <ac:picMk id="2052" creationId="{617D1FCC-357F-4E95-BACB-6DECDB820E48}"/>
          </ac:picMkLst>
        </pc:picChg>
        <pc:cxnChg chg="add mod">
          <ac:chgData name="Aurelia Etlin" userId="17c626bb-ce18-4079-8178-d87f0118134e" providerId="ADAL" clId="{9684D8FF-B5F8-44FF-9A64-760426256ECB}" dt="2019-12-17T18:48:07.320" v="2555" actId="14100"/>
          <ac:cxnSpMkLst>
            <pc:docMk/>
            <pc:sldMk cId="1303914512" sldId="324"/>
            <ac:cxnSpMk id="8" creationId="{239388B6-297B-4301-B635-9EC40EEE091D}"/>
          </ac:cxnSpMkLst>
        </pc:cxnChg>
      </pc:sldChg>
      <pc:sldChg chg="addSp modSp modNotesTx">
        <pc:chgData name="Aurelia Etlin" userId="17c626bb-ce18-4079-8178-d87f0118134e" providerId="ADAL" clId="{9684D8FF-B5F8-44FF-9A64-760426256ECB}" dt="2019-12-17T18:51:28.158" v="2579" actId="1076"/>
        <pc:sldMkLst>
          <pc:docMk/>
          <pc:sldMk cId="597831163" sldId="325"/>
        </pc:sldMkLst>
        <pc:picChg chg="add mod">
          <ac:chgData name="Aurelia Etlin" userId="17c626bb-ce18-4079-8178-d87f0118134e" providerId="ADAL" clId="{9684D8FF-B5F8-44FF-9A64-760426256ECB}" dt="2019-12-17T18:51:25.645" v="2578" actId="1076"/>
          <ac:picMkLst>
            <pc:docMk/>
            <pc:sldMk cId="597831163" sldId="325"/>
            <ac:picMk id="3074" creationId="{827650B7-6BC4-4BED-9E30-722EA33728F0}"/>
          </ac:picMkLst>
        </pc:picChg>
        <pc:picChg chg="add mod">
          <ac:chgData name="Aurelia Etlin" userId="17c626bb-ce18-4079-8178-d87f0118134e" providerId="ADAL" clId="{9684D8FF-B5F8-44FF-9A64-760426256ECB}" dt="2019-12-17T18:51:28.158" v="2579" actId="1076"/>
          <ac:picMkLst>
            <pc:docMk/>
            <pc:sldMk cId="597831163" sldId="325"/>
            <ac:picMk id="3076" creationId="{9637978C-C85D-4DED-8B26-DBD4AFC1F38B}"/>
          </ac:picMkLst>
        </pc:picChg>
      </pc:sldChg>
      <pc:sldChg chg="addSp delSp modSp mod setBg">
        <pc:chgData name="Aurelia Etlin" userId="17c626bb-ce18-4079-8178-d87f0118134e" providerId="ADAL" clId="{9684D8FF-B5F8-44FF-9A64-760426256ECB}" dt="2019-12-13T13:07:42.176" v="460" actId="26606"/>
        <pc:sldMkLst>
          <pc:docMk/>
          <pc:sldMk cId="1746051624" sldId="326"/>
        </pc:sldMkLst>
        <pc:spChg chg="mod">
          <ac:chgData name="Aurelia Etlin" userId="17c626bb-ce18-4079-8178-d87f0118134e" providerId="ADAL" clId="{9684D8FF-B5F8-44FF-9A64-760426256ECB}" dt="2019-12-13T13:07:42.176" v="460" actId="26606"/>
          <ac:spMkLst>
            <pc:docMk/>
            <pc:sldMk cId="1746051624" sldId="326"/>
            <ac:spMk id="2" creationId="{99B1DD74-ECFF-4F6D-A99A-166E150EA5D9}"/>
          </ac:spMkLst>
        </pc:spChg>
        <pc:spChg chg="del">
          <ac:chgData name="Aurelia Etlin" userId="17c626bb-ce18-4079-8178-d87f0118134e" providerId="ADAL" clId="{9684D8FF-B5F8-44FF-9A64-760426256ECB}" dt="2019-12-13T13:07:42.176" v="460" actId="26606"/>
          <ac:spMkLst>
            <pc:docMk/>
            <pc:sldMk cId="1746051624" sldId="326"/>
            <ac:spMk id="3" creationId="{397EFE3C-103F-468B-BBA2-1D8E61F543BB}"/>
          </ac:spMkLst>
        </pc:spChg>
        <pc:spChg chg="add">
          <ac:chgData name="Aurelia Etlin" userId="17c626bb-ce18-4079-8178-d87f0118134e" providerId="ADAL" clId="{9684D8FF-B5F8-44FF-9A64-760426256ECB}" dt="2019-12-13T13:07:42.176" v="460" actId="26606"/>
          <ac:spMkLst>
            <pc:docMk/>
            <pc:sldMk cId="1746051624" sldId="326"/>
            <ac:spMk id="10" creationId="{46C2E80F-49A6-4372-B103-219D417A55ED}"/>
          </ac:spMkLst>
        </pc:spChg>
        <pc:graphicFrameChg chg="add">
          <ac:chgData name="Aurelia Etlin" userId="17c626bb-ce18-4079-8178-d87f0118134e" providerId="ADAL" clId="{9684D8FF-B5F8-44FF-9A64-760426256ECB}" dt="2019-12-13T13:07:42.176" v="460" actId="26606"/>
          <ac:graphicFrameMkLst>
            <pc:docMk/>
            <pc:sldMk cId="1746051624" sldId="326"/>
            <ac:graphicFrameMk id="5" creationId="{F912146B-47D1-46E1-BA11-5A287AFDA384}"/>
          </ac:graphicFrameMkLst>
        </pc:graphicFrameChg>
      </pc:sldChg>
      <pc:sldChg chg="addSp delSp modSp addAnim delAnim">
        <pc:chgData name="Aurelia Etlin" userId="17c626bb-ce18-4079-8178-d87f0118134e" providerId="ADAL" clId="{9684D8FF-B5F8-44FF-9A64-760426256ECB}" dt="2019-12-13T22:59:35.014" v="1687" actId="1076"/>
        <pc:sldMkLst>
          <pc:docMk/>
          <pc:sldMk cId="795838729" sldId="328"/>
        </pc:sldMkLst>
        <pc:spChg chg="mod">
          <ac:chgData name="Aurelia Etlin" userId="17c626bb-ce18-4079-8178-d87f0118134e" providerId="ADAL" clId="{9684D8FF-B5F8-44FF-9A64-760426256ECB}" dt="2019-12-13T22:58:32.318" v="1680" actId="207"/>
          <ac:spMkLst>
            <pc:docMk/>
            <pc:sldMk cId="795838729" sldId="328"/>
            <ac:spMk id="8" creationId="{A7556F20-5AF0-45E9-803A-85A5B5C17EA2}"/>
          </ac:spMkLst>
        </pc:spChg>
        <pc:spChg chg="mod">
          <ac:chgData name="Aurelia Etlin" userId="17c626bb-ce18-4079-8178-d87f0118134e" providerId="ADAL" clId="{9684D8FF-B5F8-44FF-9A64-760426256ECB}" dt="2019-12-13T22:59:12.379" v="1685" actId="20578"/>
          <ac:spMkLst>
            <pc:docMk/>
            <pc:sldMk cId="795838729" sldId="328"/>
            <ac:spMk id="10" creationId="{21B80168-0B04-466E-BD35-D110E8C325B2}"/>
          </ac:spMkLst>
        </pc:spChg>
        <pc:spChg chg="mod">
          <ac:chgData name="Aurelia Etlin" userId="17c626bb-ce18-4079-8178-d87f0118134e" providerId="ADAL" clId="{9684D8FF-B5F8-44FF-9A64-760426256ECB}" dt="2019-12-13T22:57:43.870" v="1675" actId="1076"/>
          <ac:spMkLst>
            <pc:docMk/>
            <pc:sldMk cId="795838729" sldId="328"/>
            <ac:spMk id="13" creationId="{4729477D-344B-47DC-A5DE-EE441A5AF673}"/>
          </ac:spMkLst>
        </pc:spChg>
        <pc:spChg chg="mod">
          <ac:chgData name="Aurelia Etlin" userId="17c626bb-ce18-4079-8178-d87f0118134e" providerId="ADAL" clId="{9684D8FF-B5F8-44FF-9A64-760426256ECB}" dt="2019-12-13T22:59:35.014" v="1687" actId="1076"/>
          <ac:spMkLst>
            <pc:docMk/>
            <pc:sldMk cId="795838729" sldId="328"/>
            <ac:spMk id="44" creationId="{125159D4-A1B4-4586-B796-B2BD8ED87DFE}"/>
          </ac:spMkLst>
        </pc:spChg>
        <pc:grpChg chg="add del mod">
          <ac:chgData name="Aurelia Etlin" userId="17c626bb-ce18-4079-8178-d87f0118134e" providerId="ADAL" clId="{9684D8FF-B5F8-44FF-9A64-760426256ECB}" dt="2019-12-13T22:58:05.711" v="1679" actId="14100"/>
          <ac:grpSpMkLst>
            <pc:docMk/>
            <pc:sldMk cId="795838729" sldId="328"/>
            <ac:grpSpMk id="12" creationId="{24A2BF23-4FFA-439D-B727-744851C5A113}"/>
          </ac:grpSpMkLst>
        </pc:grpChg>
        <pc:grpChg chg="mod">
          <ac:chgData name="Aurelia Etlin" userId="17c626bb-ce18-4079-8178-d87f0118134e" providerId="ADAL" clId="{9684D8FF-B5F8-44FF-9A64-760426256ECB}" dt="2019-12-13T22:57:53.138" v="1676" actId="1076"/>
          <ac:grpSpMkLst>
            <pc:docMk/>
            <pc:sldMk cId="795838729" sldId="328"/>
            <ac:grpSpMk id="17" creationId="{AEA44618-3F63-4D1C-B319-72D748E6473F}"/>
          </ac:grpSpMkLst>
        </pc:grpChg>
        <pc:grpChg chg="mod">
          <ac:chgData name="Aurelia Etlin" userId="17c626bb-ce18-4079-8178-d87f0118134e" providerId="ADAL" clId="{9684D8FF-B5F8-44FF-9A64-760426256ECB}" dt="2019-12-13T22:57:53.138" v="1676" actId="1076"/>
          <ac:grpSpMkLst>
            <pc:docMk/>
            <pc:sldMk cId="795838729" sldId="328"/>
            <ac:grpSpMk id="21" creationId="{F3DDA92B-F67D-48EB-B037-BAABC8C2F846}"/>
          </ac:grpSpMkLst>
        </pc:grpChg>
        <pc:grpChg chg="mod">
          <ac:chgData name="Aurelia Etlin" userId="17c626bb-ce18-4079-8178-d87f0118134e" providerId="ADAL" clId="{9684D8FF-B5F8-44FF-9A64-760426256ECB}" dt="2019-12-13T22:59:12.379" v="1685" actId="20578"/>
          <ac:grpSpMkLst>
            <pc:docMk/>
            <pc:sldMk cId="795838729" sldId="328"/>
            <ac:grpSpMk id="40" creationId="{33E40AFD-4EC7-4B71-84FF-F9B18BABD4C0}"/>
          </ac:grpSpMkLst>
        </pc:grpChg>
        <pc:picChg chg="mod">
          <ac:chgData name="Aurelia Etlin" userId="17c626bb-ce18-4079-8178-d87f0118134e" providerId="ADAL" clId="{9684D8FF-B5F8-44FF-9A64-760426256ECB}" dt="2019-12-13T22:57:53.138" v="1676" actId="1076"/>
          <ac:picMkLst>
            <pc:docMk/>
            <pc:sldMk cId="795838729" sldId="328"/>
            <ac:picMk id="7" creationId="{FADAFF1B-5434-4ADE-9BC0-84ACB8391C0F}"/>
          </ac:picMkLst>
        </pc:picChg>
        <pc:picChg chg="mod">
          <ac:chgData name="Aurelia Etlin" userId="17c626bb-ce18-4079-8178-d87f0118134e" providerId="ADAL" clId="{9684D8FF-B5F8-44FF-9A64-760426256ECB}" dt="2019-12-13T22:57:53.138" v="1676" actId="1076"/>
          <ac:picMkLst>
            <pc:docMk/>
            <pc:sldMk cId="795838729" sldId="328"/>
            <ac:picMk id="11" creationId="{B3CB5591-E49F-462F-882D-FC264187795D}"/>
          </ac:picMkLst>
        </pc:picChg>
        <pc:cxnChg chg="mod">
          <ac:chgData name="Aurelia Etlin" userId="17c626bb-ce18-4079-8178-d87f0118134e" providerId="ADAL" clId="{9684D8FF-B5F8-44FF-9A64-760426256ECB}" dt="2019-12-13T22:57:53.138" v="1676" actId="1076"/>
          <ac:cxnSpMkLst>
            <pc:docMk/>
            <pc:sldMk cId="795838729" sldId="328"/>
            <ac:cxnSpMk id="6" creationId="{91E2AAF0-1299-4A2A-A472-63AE3B7095AA}"/>
          </ac:cxnSpMkLst>
        </pc:cxnChg>
      </pc:sldChg>
      <pc:sldChg chg="addSp delSp modSp mod setBg">
        <pc:chgData name="Aurelia Etlin" userId="17c626bb-ce18-4079-8178-d87f0118134e" providerId="ADAL" clId="{9684D8FF-B5F8-44FF-9A64-760426256ECB}" dt="2019-12-16T21:25:22.849" v="1708" actId="26606"/>
        <pc:sldMkLst>
          <pc:docMk/>
          <pc:sldMk cId="1246420614" sldId="330"/>
        </pc:sldMkLst>
        <pc:spChg chg="mod">
          <ac:chgData name="Aurelia Etlin" userId="17c626bb-ce18-4079-8178-d87f0118134e" providerId="ADAL" clId="{9684D8FF-B5F8-44FF-9A64-760426256ECB}" dt="2019-12-16T21:25:22.849" v="1708" actId="26606"/>
          <ac:spMkLst>
            <pc:docMk/>
            <pc:sldMk cId="1246420614" sldId="330"/>
            <ac:spMk id="2" creationId="{99B1DD74-ECFF-4F6D-A99A-166E150EA5D9}"/>
          </ac:spMkLst>
        </pc:spChg>
        <pc:spChg chg="del">
          <ac:chgData name="Aurelia Etlin" userId="17c626bb-ce18-4079-8178-d87f0118134e" providerId="ADAL" clId="{9684D8FF-B5F8-44FF-9A64-760426256ECB}" dt="2019-12-16T21:25:22.849" v="1708" actId="26606"/>
          <ac:spMkLst>
            <pc:docMk/>
            <pc:sldMk cId="1246420614" sldId="330"/>
            <ac:spMk id="3" creationId="{A7758DDC-C702-4BF3-9905-8D267FD1C5E5}"/>
          </ac:spMkLst>
        </pc:spChg>
        <pc:spChg chg="add">
          <ac:chgData name="Aurelia Etlin" userId="17c626bb-ce18-4079-8178-d87f0118134e" providerId="ADAL" clId="{9684D8FF-B5F8-44FF-9A64-760426256ECB}" dt="2019-12-16T21:25:22.849" v="1708" actId="26606"/>
          <ac:spMkLst>
            <pc:docMk/>
            <pc:sldMk cId="1246420614" sldId="330"/>
            <ac:spMk id="10" creationId="{46C2E80F-49A6-4372-B103-219D417A55ED}"/>
          </ac:spMkLst>
        </pc:spChg>
        <pc:graphicFrameChg chg="add">
          <ac:chgData name="Aurelia Etlin" userId="17c626bb-ce18-4079-8178-d87f0118134e" providerId="ADAL" clId="{9684D8FF-B5F8-44FF-9A64-760426256ECB}" dt="2019-12-16T21:25:22.849" v="1708" actId="26606"/>
          <ac:graphicFrameMkLst>
            <pc:docMk/>
            <pc:sldMk cId="1246420614" sldId="330"/>
            <ac:graphicFrameMk id="5" creationId="{47C37D87-9ECE-440A-AE75-FD2BB0E9FDE9}"/>
          </ac:graphicFrameMkLst>
        </pc:graphicFrameChg>
      </pc:sldChg>
      <pc:sldChg chg="addSp delSp modSp mod setBg">
        <pc:chgData name="Aurelia Etlin" userId="17c626bb-ce18-4079-8178-d87f0118134e" providerId="ADAL" clId="{9684D8FF-B5F8-44FF-9A64-760426256ECB}" dt="2019-12-17T22:42:40.803" v="2709"/>
        <pc:sldMkLst>
          <pc:docMk/>
          <pc:sldMk cId="1597498512" sldId="334"/>
        </pc:sldMkLst>
        <pc:spChg chg="mod">
          <ac:chgData name="Aurelia Etlin" userId="17c626bb-ce18-4079-8178-d87f0118134e" providerId="ADAL" clId="{9684D8FF-B5F8-44FF-9A64-760426256ECB}" dt="2019-12-16T23:08:40.843" v="1916" actId="26606"/>
          <ac:spMkLst>
            <pc:docMk/>
            <pc:sldMk cId="1597498512" sldId="334"/>
            <ac:spMk id="2" creationId="{6F24309F-00F3-409F-9605-B09503C1271A}"/>
          </ac:spMkLst>
        </pc:spChg>
        <pc:spChg chg="del">
          <ac:chgData name="Aurelia Etlin" userId="17c626bb-ce18-4079-8178-d87f0118134e" providerId="ADAL" clId="{9684D8FF-B5F8-44FF-9A64-760426256ECB}" dt="2019-12-16T23:08:40.843" v="1916" actId="26606"/>
          <ac:spMkLst>
            <pc:docMk/>
            <pc:sldMk cId="1597498512" sldId="334"/>
            <ac:spMk id="3" creationId="{AC94DD5D-9920-483C-8927-B5ED16420BDF}"/>
          </ac:spMkLst>
        </pc:spChg>
        <pc:spChg chg="add">
          <ac:chgData name="Aurelia Etlin" userId="17c626bb-ce18-4079-8178-d87f0118134e" providerId="ADAL" clId="{9684D8FF-B5F8-44FF-9A64-760426256ECB}" dt="2019-12-16T23:08:40.843" v="1916" actId="26606"/>
          <ac:spMkLst>
            <pc:docMk/>
            <pc:sldMk cId="1597498512" sldId="334"/>
            <ac:spMk id="10" creationId="{46C2E80F-49A6-4372-B103-219D417A55ED}"/>
          </ac:spMkLst>
        </pc:spChg>
        <pc:graphicFrameChg chg="add mod">
          <ac:chgData name="Aurelia Etlin" userId="17c626bb-ce18-4079-8178-d87f0118134e" providerId="ADAL" clId="{9684D8FF-B5F8-44FF-9A64-760426256ECB}" dt="2019-12-17T22:42:40.803" v="2709"/>
          <ac:graphicFrameMkLst>
            <pc:docMk/>
            <pc:sldMk cId="1597498512" sldId="334"/>
            <ac:graphicFrameMk id="5" creationId="{42B9F7E1-74A4-462C-8C9A-5F9F3CD2F4AD}"/>
          </ac:graphicFrameMkLst>
        </pc:graphicFrameChg>
      </pc:sldChg>
      <pc:sldChg chg="addSp delSp modSp mod setBg setClrOvrMap">
        <pc:chgData name="Aurelia Etlin" userId="17c626bb-ce18-4079-8178-d87f0118134e" providerId="ADAL" clId="{9684D8FF-B5F8-44FF-9A64-760426256ECB}" dt="2019-12-16T23:10:57.370" v="1941" actId="1076"/>
        <pc:sldMkLst>
          <pc:docMk/>
          <pc:sldMk cId="617669993" sldId="336"/>
        </pc:sldMkLst>
        <pc:spChg chg="mod">
          <ac:chgData name="Aurelia Etlin" userId="17c626bb-ce18-4079-8178-d87f0118134e" providerId="ADAL" clId="{9684D8FF-B5F8-44FF-9A64-760426256ECB}" dt="2019-12-16T23:10:32.420" v="1932" actId="1076"/>
          <ac:spMkLst>
            <pc:docMk/>
            <pc:sldMk cId="617669993" sldId="336"/>
            <ac:spMk id="2" creationId="{6F24309F-00F3-409F-9605-B09503C1271A}"/>
          </ac:spMkLst>
        </pc:spChg>
        <pc:spChg chg="mod">
          <ac:chgData name="Aurelia Etlin" userId="17c626bb-ce18-4079-8178-d87f0118134e" providerId="ADAL" clId="{9684D8FF-B5F8-44FF-9A64-760426256ECB}" dt="2019-12-16T23:10:22.605" v="1930" actId="26606"/>
          <ac:spMkLst>
            <pc:docMk/>
            <pc:sldMk cId="617669993" sldId="336"/>
            <ac:spMk id="3" creationId="{AC94DD5D-9920-483C-8927-B5ED16420BDF}"/>
          </ac:spMkLst>
        </pc:spChg>
        <pc:spChg chg="add del">
          <ac:chgData name="Aurelia Etlin" userId="17c626bb-ce18-4079-8178-d87f0118134e" providerId="ADAL" clId="{9684D8FF-B5F8-44FF-9A64-760426256ECB}" dt="2019-12-16T23:10:22.593" v="1929" actId="26606"/>
          <ac:spMkLst>
            <pc:docMk/>
            <pc:sldMk cId="617669993" sldId="336"/>
            <ac:spMk id="12" creationId="{003713C1-2FB2-413B-BF91-3AE41726FB7A}"/>
          </ac:spMkLst>
        </pc:spChg>
        <pc:spChg chg="add del">
          <ac:chgData name="Aurelia Etlin" userId="17c626bb-ce18-4079-8178-d87f0118134e" providerId="ADAL" clId="{9684D8FF-B5F8-44FF-9A64-760426256ECB}" dt="2019-12-16T23:10:22.593" v="1929" actId="26606"/>
          <ac:spMkLst>
            <pc:docMk/>
            <pc:sldMk cId="617669993" sldId="336"/>
            <ac:spMk id="14" creationId="{90795B4D-5022-4A7F-A01D-8D880B7CDBE6}"/>
          </ac:spMkLst>
        </pc:spChg>
        <pc:spChg chg="add del">
          <ac:chgData name="Aurelia Etlin" userId="17c626bb-ce18-4079-8178-d87f0118134e" providerId="ADAL" clId="{9684D8FF-B5F8-44FF-9A64-760426256ECB}" dt="2019-12-16T23:10:22.593" v="1929" actId="26606"/>
          <ac:spMkLst>
            <pc:docMk/>
            <pc:sldMk cId="617669993" sldId="336"/>
            <ac:spMk id="16" creationId="{AFD19018-DE7C-4796-ADF2-AD2EB0FC0D9C}"/>
          </ac:spMkLst>
        </pc:spChg>
        <pc:spChg chg="add del">
          <ac:chgData name="Aurelia Etlin" userId="17c626bb-ce18-4079-8178-d87f0118134e" providerId="ADAL" clId="{9684D8FF-B5F8-44FF-9A64-760426256ECB}" dt="2019-12-16T23:10:22.593" v="1929" actId="26606"/>
          <ac:spMkLst>
            <pc:docMk/>
            <pc:sldMk cId="617669993" sldId="336"/>
            <ac:spMk id="18" creationId="{B1A0A2C2-4F85-44AF-8708-8DCA4B550CB8}"/>
          </ac:spMkLst>
        </pc:spChg>
        <pc:spChg chg="add">
          <ac:chgData name="Aurelia Etlin" userId="17c626bb-ce18-4079-8178-d87f0118134e" providerId="ADAL" clId="{9684D8FF-B5F8-44FF-9A64-760426256ECB}" dt="2019-12-16T23:10:22.605" v="1930" actId="26606"/>
          <ac:spMkLst>
            <pc:docMk/>
            <pc:sldMk cId="617669993" sldId="336"/>
            <ac:spMk id="20" creationId="{1E2E0AFE-704B-4CB8-AB9D-D44727875966}"/>
          </ac:spMkLst>
        </pc:spChg>
        <pc:picChg chg="mod">
          <ac:chgData name="Aurelia Etlin" userId="17c626bb-ce18-4079-8178-d87f0118134e" providerId="ADAL" clId="{9684D8FF-B5F8-44FF-9A64-760426256ECB}" dt="2019-12-16T23:10:49.008" v="1938" actId="14100"/>
          <ac:picMkLst>
            <pc:docMk/>
            <pc:sldMk cId="617669993" sldId="336"/>
            <ac:picMk id="4" creationId="{BFD5709B-C3F9-4D16-B283-02D89013AE07}"/>
          </ac:picMkLst>
        </pc:picChg>
        <pc:picChg chg="mod">
          <ac:chgData name="Aurelia Etlin" userId="17c626bb-ce18-4079-8178-d87f0118134e" providerId="ADAL" clId="{9684D8FF-B5F8-44FF-9A64-760426256ECB}" dt="2019-12-16T23:10:52.825" v="1940" actId="1076"/>
          <ac:picMkLst>
            <pc:docMk/>
            <pc:sldMk cId="617669993" sldId="336"/>
            <ac:picMk id="6" creationId="{C5D4631F-6312-401B-90D3-F17C51475C71}"/>
          </ac:picMkLst>
        </pc:picChg>
        <pc:picChg chg="mod">
          <ac:chgData name="Aurelia Etlin" userId="17c626bb-ce18-4079-8178-d87f0118134e" providerId="ADAL" clId="{9684D8FF-B5F8-44FF-9A64-760426256ECB}" dt="2019-12-16T23:10:57.370" v="1941" actId="1076"/>
          <ac:picMkLst>
            <pc:docMk/>
            <pc:sldMk cId="617669993" sldId="336"/>
            <ac:picMk id="7" creationId="{55BA09CD-57FD-45EA-95F4-A8095499A61B}"/>
          </ac:picMkLst>
        </pc:picChg>
      </pc:sldChg>
      <pc:sldChg chg="addSp delSp modSp mod setBg">
        <pc:chgData name="Aurelia Etlin" userId="17c626bb-ce18-4079-8178-d87f0118134e" providerId="ADAL" clId="{9684D8FF-B5F8-44FF-9A64-760426256ECB}" dt="2019-12-16T23:12:48.400" v="1971" actId="14100"/>
        <pc:sldMkLst>
          <pc:docMk/>
          <pc:sldMk cId="4187285425" sldId="337"/>
        </pc:sldMkLst>
        <pc:spChg chg="mod">
          <ac:chgData name="Aurelia Etlin" userId="17c626bb-ce18-4079-8178-d87f0118134e" providerId="ADAL" clId="{9684D8FF-B5F8-44FF-9A64-760426256ECB}" dt="2019-12-16T23:12:26.248" v="1963" actId="26606"/>
          <ac:spMkLst>
            <pc:docMk/>
            <pc:sldMk cId="4187285425" sldId="337"/>
            <ac:spMk id="2" creationId="{A4773025-3005-4CD5-A8A7-DDC23AF57AE3}"/>
          </ac:spMkLst>
        </pc:spChg>
        <pc:spChg chg="add">
          <ac:chgData name="Aurelia Etlin" userId="17c626bb-ce18-4079-8178-d87f0118134e" providerId="ADAL" clId="{9684D8FF-B5F8-44FF-9A64-760426256ECB}" dt="2019-12-16T23:12:26.248" v="1963" actId="26606"/>
          <ac:spMkLst>
            <pc:docMk/>
            <pc:sldMk cId="4187285425" sldId="337"/>
            <ac:spMk id="21" creationId="{A5711A0E-A428-4ED1-96CB-33D69FD842E4}"/>
          </ac:spMkLst>
        </pc:spChg>
        <pc:picChg chg="mod">
          <ac:chgData name="Aurelia Etlin" userId="17c626bb-ce18-4079-8178-d87f0118134e" providerId="ADAL" clId="{9684D8FF-B5F8-44FF-9A64-760426256ECB}" dt="2019-12-16T23:12:43.209" v="1969" actId="1076"/>
          <ac:picMkLst>
            <pc:docMk/>
            <pc:sldMk cId="4187285425" sldId="337"/>
            <ac:picMk id="4" creationId="{0D2FCE98-B8B5-4D41-B8C0-77B2C73B103A}"/>
          </ac:picMkLst>
        </pc:picChg>
        <pc:picChg chg="mod ord">
          <ac:chgData name="Aurelia Etlin" userId="17c626bb-ce18-4079-8178-d87f0118134e" providerId="ADAL" clId="{9684D8FF-B5F8-44FF-9A64-760426256ECB}" dt="2019-12-16T23:12:34.592" v="1964" actId="1076"/>
          <ac:picMkLst>
            <pc:docMk/>
            <pc:sldMk cId="4187285425" sldId="337"/>
            <ac:picMk id="9" creationId="{2BEF9949-7D74-46EA-84D8-C406341E6A26}"/>
          </ac:picMkLst>
        </pc:picChg>
        <pc:picChg chg="mod">
          <ac:chgData name="Aurelia Etlin" userId="17c626bb-ce18-4079-8178-d87f0118134e" providerId="ADAL" clId="{9684D8FF-B5F8-44FF-9A64-760426256ECB}" dt="2019-12-16T23:12:48.400" v="1971" actId="14100"/>
          <ac:picMkLst>
            <pc:docMk/>
            <pc:sldMk cId="4187285425" sldId="337"/>
            <ac:picMk id="11" creationId="{2CCA2000-DA3A-4F9A-AA34-31E55433FFE5}"/>
          </ac:picMkLst>
        </pc:picChg>
        <pc:cxnChg chg="add del">
          <ac:chgData name="Aurelia Etlin" userId="17c626bb-ce18-4079-8178-d87f0118134e" providerId="ADAL" clId="{9684D8FF-B5F8-44FF-9A64-760426256ECB}" dt="2019-12-16T23:12:26.248" v="1963" actId="26606"/>
          <ac:cxnSpMkLst>
            <pc:docMk/>
            <pc:sldMk cId="4187285425" sldId="337"/>
            <ac:cxnSpMk id="16" creationId="{8F880EF2-DF79-4D9D-8F11-E91D48C79741}"/>
          </ac:cxnSpMkLst>
        </pc:cxnChg>
      </pc:sldChg>
      <pc:sldChg chg="modSp">
        <pc:chgData name="Aurelia Etlin" userId="17c626bb-ce18-4079-8178-d87f0118134e" providerId="ADAL" clId="{9684D8FF-B5F8-44FF-9A64-760426256ECB}" dt="2019-12-16T23:12:56.680" v="1972" actId="1076"/>
        <pc:sldMkLst>
          <pc:docMk/>
          <pc:sldMk cId="1573970198" sldId="338"/>
        </pc:sldMkLst>
        <pc:picChg chg="mod">
          <ac:chgData name="Aurelia Etlin" userId="17c626bb-ce18-4079-8178-d87f0118134e" providerId="ADAL" clId="{9684D8FF-B5F8-44FF-9A64-760426256ECB}" dt="2019-12-16T23:12:56.680" v="1972" actId="1076"/>
          <ac:picMkLst>
            <pc:docMk/>
            <pc:sldMk cId="1573970198" sldId="338"/>
            <ac:picMk id="4" creationId="{8E1BF30C-79FD-4EDC-8F8A-A4BCE6CAB2EE}"/>
          </ac:picMkLst>
        </pc:picChg>
      </pc:sldChg>
      <pc:sldChg chg="modSp">
        <pc:chgData name="Aurelia Etlin" userId="17c626bb-ce18-4079-8178-d87f0118134e" providerId="ADAL" clId="{9684D8FF-B5F8-44FF-9A64-760426256ECB}" dt="2019-12-16T23:07:52.919" v="1912" actId="20577"/>
        <pc:sldMkLst>
          <pc:docMk/>
          <pc:sldMk cId="3453835740" sldId="339"/>
        </pc:sldMkLst>
        <pc:spChg chg="mod">
          <ac:chgData name="Aurelia Etlin" userId="17c626bb-ce18-4079-8178-d87f0118134e" providerId="ADAL" clId="{9684D8FF-B5F8-44FF-9A64-760426256ECB}" dt="2019-12-16T23:07:50.312" v="1910" actId="20577"/>
          <ac:spMkLst>
            <pc:docMk/>
            <pc:sldMk cId="3453835740" sldId="339"/>
            <ac:spMk id="2" creationId="{99B1DD74-ECFF-4F6D-A99A-166E150EA5D9}"/>
          </ac:spMkLst>
        </pc:spChg>
        <pc:spChg chg="mod">
          <ac:chgData name="Aurelia Etlin" userId="17c626bb-ce18-4079-8178-d87f0118134e" providerId="ADAL" clId="{9684D8FF-B5F8-44FF-9A64-760426256ECB}" dt="2019-12-16T23:07:52.919" v="1912" actId="20577"/>
          <ac:spMkLst>
            <pc:docMk/>
            <pc:sldMk cId="3453835740" sldId="339"/>
            <ac:spMk id="3" creationId="{397EFE3C-103F-468B-BBA2-1D8E61F543BB}"/>
          </ac:spMkLst>
        </pc:spChg>
      </pc:sldChg>
      <pc:sldChg chg="modSp">
        <pc:chgData name="Aurelia Etlin" userId="17c626bb-ce18-4079-8178-d87f0118134e" providerId="ADAL" clId="{9684D8FF-B5F8-44FF-9A64-760426256ECB}" dt="2019-12-16T23:08:00.310" v="1913" actId="20577"/>
        <pc:sldMkLst>
          <pc:docMk/>
          <pc:sldMk cId="1780282206" sldId="340"/>
        </pc:sldMkLst>
        <pc:spChg chg="mod">
          <ac:chgData name="Aurelia Etlin" userId="17c626bb-ce18-4079-8178-d87f0118134e" providerId="ADAL" clId="{9684D8FF-B5F8-44FF-9A64-760426256ECB}" dt="2019-12-16T23:08:00.310" v="1913" actId="20577"/>
          <ac:spMkLst>
            <pc:docMk/>
            <pc:sldMk cId="1780282206" sldId="340"/>
            <ac:spMk id="2" creationId="{99B1DD74-ECFF-4F6D-A99A-166E150EA5D9}"/>
          </ac:spMkLst>
        </pc:spChg>
      </pc:sldChg>
      <pc:sldChg chg="modSp">
        <pc:chgData name="Aurelia Etlin" userId="17c626bb-ce18-4079-8178-d87f0118134e" providerId="ADAL" clId="{9684D8FF-B5F8-44FF-9A64-760426256ECB}" dt="2019-12-16T23:08:20.133" v="1914" actId="20577"/>
        <pc:sldMkLst>
          <pc:docMk/>
          <pc:sldMk cId="493426151" sldId="341"/>
        </pc:sldMkLst>
        <pc:spChg chg="mod">
          <ac:chgData name="Aurelia Etlin" userId="17c626bb-ce18-4079-8178-d87f0118134e" providerId="ADAL" clId="{9684D8FF-B5F8-44FF-9A64-760426256ECB}" dt="2019-12-16T23:08:20.133" v="1914" actId="20577"/>
          <ac:spMkLst>
            <pc:docMk/>
            <pc:sldMk cId="493426151" sldId="341"/>
            <ac:spMk id="2" creationId="{99B1DD74-ECFF-4F6D-A99A-166E150EA5D9}"/>
          </ac:spMkLst>
        </pc:spChg>
      </pc:sldChg>
      <pc:sldChg chg="modSp">
        <pc:chgData name="Aurelia Etlin" userId="17c626bb-ce18-4079-8178-d87f0118134e" providerId="ADAL" clId="{9684D8FF-B5F8-44FF-9A64-760426256ECB}" dt="2019-12-16T23:06:27.977" v="1907" actId="255"/>
        <pc:sldMkLst>
          <pc:docMk/>
          <pc:sldMk cId="430063535" sldId="343"/>
        </pc:sldMkLst>
        <pc:spChg chg="mod">
          <ac:chgData name="Aurelia Etlin" userId="17c626bb-ce18-4079-8178-d87f0118134e" providerId="ADAL" clId="{9684D8FF-B5F8-44FF-9A64-760426256ECB}" dt="2019-12-16T23:06:27.977" v="1907" actId="255"/>
          <ac:spMkLst>
            <pc:docMk/>
            <pc:sldMk cId="430063535" sldId="343"/>
            <ac:spMk id="3" creationId="{A0A0938F-7804-44FD-914F-F5F8FD2A07DD}"/>
          </ac:spMkLst>
        </pc:spChg>
        <pc:spChg chg="mod">
          <ac:chgData name="Aurelia Etlin" userId="17c626bb-ce18-4079-8178-d87f0118134e" providerId="ADAL" clId="{9684D8FF-B5F8-44FF-9A64-760426256ECB}" dt="2019-12-16T23:05:07.541" v="1902" actId="20577"/>
          <ac:spMkLst>
            <pc:docMk/>
            <pc:sldMk cId="430063535" sldId="343"/>
            <ac:spMk id="5" creationId="{02A6ACA7-F8D4-4A19-AD95-5A4AB5E46715}"/>
          </ac:spMkLst>
        </pc:spChg>
      </pc:sldChg>
      <pc:sldChg chg="addSp delSp modSp mod setBg">
        <pc:chgData name="Aurelia Etlin" userId="17c626bb-ce18-4079-8178-d87f0118134e" providerId="ADAL" clId="{9684D8FF-B5F8-44FF-9A64-760426256ECB}" dt="2019-12-16T23:16:31.862" v="1992" actId="255"/>
        <pc:sldMkLst>
          <pc:docMk/>
          <pc:sldMk cId="1101853964" sldId="344"/>
        </pc:sldMkLst>
        <pc:spChg chg="mod">
          <ac:chgData name="Aurelia Etlin" userId="17c626bb-ce18-4079-8178-d87f0118134e" providerId="ADAL" clId="{9684D8FF-B5F8-44FF-9A64-760426256ECB}" dt="2019-12-16T23:16:02.440" v="1986" actId="26606"/>
          <ac:spMkLst>
            <pc:docMk/>
            <pc:sldMk cId="1101853964" sldId="344"/>
            <ac:spMk id="2" creationId="{E4600EEB-DB09-4B15-95BB-351801726724}"/>
          </ac:spMkLst>
        </pc:spChg>
        <pc:spChg chg="add del">
          <ac:chgData name="Aurelia Etlin" userId="17c626bb-ce18-4079-8178-d87f0118134e" providerId="ADAL" clId="{9684D8FF-B5F8-44FF-9A64-760426256ECB}" dt="2019-12-16T23:16:02.440" v="1986" actId="26606"/>
          <ac:spMkLst>
            <pc:docMk/>
            <pc:sldMk cId="1101853964" sldId="344"/>
            <ac:spMk id="3" creationId="{D912FAB8-731C-4DC7-9101-4EF541ACEA7E}"/>
          </ac:spMkLst>
        </pc:spChg>
        <pc:spChg chg="add">
          <ac:chgData name="Aurelia Etlin" userId="17c626bb-ce18-4079-8178-d87f0118134e" providerId="ADAL" clId="{9684D8FF-B5F8-44FF-9A64-760426256ECB}" dt="2019-12-16T23:16:02.440" v="1986" actId="26606"/>
          <ac:spMkLst>
            <pc:docMk/>
            <pc:sldMk cId="1101853964" sldId="344"/>
            <ac:spMk id="10" creationId="{A5711A0E-A428-4ED1-96CB-33D69FD842E4}"/>
          </ac:spMkLst>
        </pc:spChg>
        <pc:graphicFrameChg chg="add del">
          <ac:chgData name="Aurelia Etlin" userId="17c626bb-ce18-4079-8178-d87f0118134e" providerId="ADAL" clId="{9684D8FF-B5F8-44FF-9A64-760426256ECB}" dt="2019-12-16T23:16:02.406" v="1985" actId="26606"/>
          <ac:graphicFrameMkLst>
            <pc:docMk/>
            <pc:sldMk cId="1101853964" sldId="344"/>
            <ac:graphicFrameMk id="5" creationId="{DC404712-F862-472B-BBA7-1929366544E9}"/>
          </ac:graphicFrameMkLst>
        </pc:graphicFrameChg>
        <pc:graphicFrameChg chg="add mod">
          <ac:chgData name="Aurelia Etlin" userId="17c626bb-ce18-4079-8178-d87f0118134e" providerId="ADAL" clId="{9684D8FF-B5F8-44FF-9A64-760426256ECB}" dt="2019-12-16T23:16:31.862" v="1992" actId="255"/>
          <ac:graphicFrameMkLst>
            <pc:docMk/>
            <pc:sldMk cId="1101853964" sldId="344"/>
            <ac:graphicFrameMk id="7" creationId="{615877A4-A569-458E-9BF2-BF21436A3973}"/>
          </ac:graphicFrameMkLst>
        </pc:graphicFrameChg>
      </pc:sldChg>
      <pc:sldChg chg="add">
        <pc:chgData name="Aurelia Etlin" userId="17c626bb-ce18-4079-8178-d87f0118134e" providerId="ADAL" clId="{9684D8FF-B5F8-44FF-9A64-760426256ECB}" dt="2019-12-13T16:25:59.733" v="1045"/>
        <pc:sldMkLst>
          <pc:docMk/>
          <pc:sldMk cId="2612122493" sldId="405"/>
        </pc:sldMkLst>
      </pc:sldChg>
      <pc:sldChg chg="modSp add">
        <pc:chgData name="Aurelia Etlin" userId="17c626bb-ce18-4079-8178-d87f0118134e" providerId="ADAL" clId="{9684D8FF-B5F8-44FF-9A64-760426256ECB}" dt="2019-12-13T16:28:46.352" v="1069" actId="207"/>
        <pc:sldMkLst>
          <pc:docMk/>
          <pc:sldMk cId="2779250948" sldId="406"/>
        </pc:sldMkLst>
        <pc:spChg chg="mod">
          <ac:chgData name="Aurelia Etlin" userId="17c626bb-ce18-4079-8178-d87f0118134e" providerId="ADAL" clId="{9684D8FF-B5F8-44FF-9A64-760426256ECB}" dt="2019-12-13T16:28:46.352" v="1069" actId="207"/>
          <ac:spMkLst>
            <pc:docMk/>
            <pc:sldMk cId="2779250948" sldId="406"/>
            <ac:spMk id="8" creationId="{00000000-0000-0000-0000-000000000000}"/>
          </ac:spMkLst>
        </pc:spChg>
        <pc:graphicFrameChg chg="mod">
          <ac:chgData name="Aurelia Etlin" userId="17c626bb-ce18-4079-8178-d87f0118134e" providerId="ADAL" clId="{9684D8FF-B5F8-44FF-9A64-760426256ECB}" dt="2019-12-13T16:28:32.980" v="1068" actId="1076"/>
          <ac:graphicFrameMkLst>
            <pc:docMk/>
            <pc:sldMk cId="2779250948" sldId="406"/>
            <ac:graphicFrameMk id="2" creationId="{00000000-0000-0000-0000-000000000000}"/>
          </ac:graphicFrameMkLst>
        </pc:graphicFrameChg>
      </pc:sldChg>
      <pc:sldChg chg="add">
        <pc:chgData name="Aurelia Etlin" userId="17c626bb-ce18-4079-8178-d87f0118134e" providerId="ADAL" clId="{9684D8FF-B5F8-44FF-9A64-760426256ECB}" dt="2019-12-13T16:25:05.270" v="1042"/>
        <pc:sldMkLst>
          <pc:docMk/>
          <pc:sldMk cId="2023116370" sldId="440"/>
        </pc:sldMkLst>
      </pc:sldChg>
      <pc:sldChg chg="modSp modNotesTx">
        <pc:chgData name="Aurelia Etlin" userId="17c626bb-ce18-4079-8178-d87f0118134e" providerId="ADAL" clId="{9684D8FF-B5F8-44FF-9A64-760426256ECB}" dt="2019-12-16T21:28:04.682" v="1734" actId="20577"/>
        <pc:sldMkLst>
          <pc:docMk/>
          <pc:sldMk cId="487109994" sldId="441"/>
        </pc:sldMkLst>
        <pc:spChg chg="mod">
          <ac:chgData name="Aurelia Etlin" userId="17c626bb-ce18-4079-8178-d87f0118134e" providerId="ADAL" clId="{9684D8FF-B5F8-44FF-9A64-760426256ECB}" dt="2019-12-16T21:27:39.738" v="1722" actId="20577"/>
          <ac:spMkLst>
            <pc:docMk/>
            <pc:sldMk cId="487109994" sldId="441"/>
            <ac:spMk id="2" creationId="{00000000-0000-0000-0000-000000000000}"/>
          </ac:spMkLst>
        </pc:spChg>
      </pc:sldChg>
      <pc:sldChg chg="add modNotesTx">
        <pc:chgData name="Aurelia Etlin" userId="17c626bb-ce18-4079-8178-d87f0118134e" providerId="ADAL" clId="{9684D8FF-B5F8-44FF-9A64-760426256ECB}" dt="2019-12-16T21:31:43.800" v="1888" actId="20577"/>
        <pc:sldMkLst>
          <pc:docMk/>
          <pc:sldMk cId="1755114775" sldId="444"/>
        </pc:sldMkLst>
      </pc:sldChg>
      <pc:sldChg chg="modSp add modAnim">
        <pc:chgData name="Aurelia Etlin" userId="17c626bb-ce18-4079-8178-d87f0118134e" providerId="ADAL" clId="{9684D8FF-B5F8-44FF-9A64-760426256ECB}" dt="2019-12-13T02:08:31.424" v="146" actId="14100"/>
        <pc:sldMkLst>
          <pc:docMk/>
          <pc:sldMk cId="2385281224" sldId="1980"/>
        </pc:sldMkLst>
        <pc:spChg chg="mod">
          <ac:chgData name="Aurelia Etlin" userId="17c626bb-ce18-4079-8178-d87f0118134e" providerId="ADAL" clId="{9684D8FF-B5F8-44FF-9A64-760426256ECB}" dt="2019-12-13T02:08:31.424" v="146" actId="14100"/>
          <ac:spMkLst>
            <pc:docMk/>
            <pc:sldMk cId="2385281224" sldId="1980"/>
            <ac:spMk id="9" creationId="{C385EC63-DDEB-4351-A380-B17AAF797670}"/>
          </ac:spMkLst>
        </pc:spChg>
      </pc:sldChg>
      <pc:sldChg chg="addSp delSp add del">
        <pc:chgData name="Aurelia Etlin" userId="17c626bb-ce18-4079-8178-d87f0118134e" providerId="ADAL" clId="{9684D8FF-B5F8-44FF-9A64-760426256ECB}" dt="2019-12-13T13:26:48.803" v="614" actId="47"/>
        <pc:sldMkLst>
          <pc:docMk/>
          <pc:sldMk cId="3028317682" sldId="1981"/>
        </pc:sldMkLst>
        <pc:spChg chg="del">
          <ac:chgData name="Aurelia Etlin" userId="17c626bb-ce18-4079-8178-d87f0118134e" providerId="ADAL" clId="{9684D8FF-B5F8-44FF-9A64-760426256ECB}" dt="2019-12-13T13:17:32.357" v="501" actId="478"/>
          <ac:spMkLst>
            <pc:docMk/>
            <pc:sldMk cId="3028317682" sldId="1981"/>
            <ac:spMk id="3" creationId="{3658402E-3D11-405E-B0CD-34FC066B7C67}"/>
          </ac:spMkLst>
        </pc:spChg>
        <pc:spChg chg="add">
          <ac:chgData name="Aurelia Etlin" userId="17c626bb-ce18-4079-8178-d87f0118134e" providerId="ADAL" clId="{9684D8FF-B5F8-44FF-9A64-760426256ECB}" dt="2019-12-13T13:17:23.029" v="500"/>
          <ac:spMkLst>
            <pc:docMk/>
            <pc:sldMk cId="3028317682" sldId="1981"/>
            <ac:spMk id="5" creationId="{CE8055AB-9DBC-4F60-9891-0591D7B3DFFD}"/>
          </ac:spMkLst>
        </pc:spChg>
        <pc:spChg chg="add">
          <ac:chgData name="Aurelia Etlin" userId="17c626bb-ce18-4079-8178-d87f0118134e" providerId="ADAL" clId="{9684D8FF-B5F8-44FF-9A64-760426256ECB}" dt="2019-12-13T13:17:23.029" v="500"/>
          <ac:spMkLst>
            <pc:docMk/>
            <pc:sldMk cId="3028317682" sldId="1981"/>
            <ac:spMk id="7" creationId="{26F26D25-C739-4495-A6F6-167382F129B4}"/>
          </ac:spMkLst>
        </pc:spChg>
        <pc:spChg chg="add">
          <ac:chgData name="Aurelia Etlin" userId="17c626bb-ce18-4079-8178-d87f0118134e" providerId="ADAL" clId="{9684D8FF-B5F8-44FF-9A64-760426256ECB}" dt="2019-12-13T13:17:23.029" v="500"/>
          <ac:spMkLst>
            <pc:docMk/>
            <pc:sldMk cId="3028317682" sldId="1981"/>
            <ac:spMk id="9" creationId="{75870353-89CC-41B7-9699-AFE8B80D2572}"/>
          </ac:spMkLst>
        </pc:spChg>
        <pc:spChg chg="add">
          <ac:chgData name="Aurelia Etlin" userId="17c626bb-ce18-4079-8178-d87f0118134e" providerId="ADAL" clId="{9684D8FF-B5F8-44FF-9A64-760426256ECB}" dt="2019-12-13T13:17:23.029" v="500"/>
          <ac:spMkLst>
            <pc:docMk/>
            <pc:sldMk cId="3028317682" sldId="1981"/>
            <ac:spMk id="11" creationId="{D4BAB7ED-8B63-4FB1-80CD-D774D0C7E1F5}"/>
          </ac:spMkLst>
        </pc:spChg>
        <pc:picChg chg="add">
          <ac:chgData name="Aurelia Etlin" userId="17c626bb-ce18-4079-8178-d87f0118134e" providerId="ADAL" clId="{9684D8FF-B5F8-44FF-9A64-760426256ECB}" dt="2019-12-13T13:17:23.029" v="500"/>
          <ac:picMkLst>
            <pc:docMk/>
            <pc:sldMk cId="3028317682" sldId="1981"/>
            <ac:picMk id="4" creationId="{15DB5F9A-10CE-4E63-BC5C-3A9C2C3CBAEA}"/>
          </ac:picMkLst>
        </pc:picChg>
        <pc:picChg chg="add">
          <ac:chgData name="Aurelia Etlin" userId="17c626bb-ce18-4079-8178-d87f0118134e" providerId="ADAL" clId="{9684D8FF-B5F8-44FF-9A64-760426256ECB}" dt="2019-12-13T13:17:23.029" v="500"/>
          <ac:picMkLst>
            <pc:docMk/>
            <pc:sldMk cId="3028317682" sldId="1981"/>
            <ac:picMk id="6" creationId="{9929CC28-E6B9-4653-91A2-C9373D15FC3D}"/>
          </ac:picMkLst>
        </pc:picChg>
        <pc:picChg chg="add">
          <ac:chgData name="Aurelia Etlin" userId="17c626bb-ce18-4079-8178-d87f0118134e" providerId="ADAL" clId="{9684D8FF-B5F8-44FF-9A64-760426256ECB}" dt="2019-12-13T13:17:23.029" v="500"/>
          <ac:picMkLst>
            <pc:docMk/>
            <pc:sldMk cId="3028317682" sldId="1981"/>
            <ac:picMk id="8" creationId="{EA1BDBDF-F2B4-4499-A2F5-682EB18BD15D}"/>
          </ac:picMkLst>
        </pc:picChg>
        <pc:picChg chg="add">
          <ac:chgData name="Aurelia Etlin" userId="17c626bb-ce18-4079-8178-d87f0118134e" providerId="ADAL" clId="{9684D8FF-B5F8-44FF-9A64-760426256ECB}" dt="2019-12-13T13:17:23.029" v="500"/>
          <ac:picMkLst>
            <pc:docMk/>
            <pc:sldMk cId="3028317682" sldId="1981"/>
            <ac:picMk id="10" creationId="{2A89D9A1-C1A4-4323-B728-DF8523EBE32F}"/>
          </ac:picMkLst>
        </pc:picChg>
      </pc:sldChg>
      <pc:sldChg chg="addSp delSp modSp add mod setBg">
        <pc:chgData name="Aurelia Etlin" userId="17c626bb-ce18-4079-8178-d87f0118134e" providerId="ADAL" clId="{9684D8FF-B5F8-44FF-9A64-760426256ECB}" dt="2019-12-13T15:44:07.131" v="645" actId="1076"/>
        <pc:sldMkLst>
          <pc:docMk/>
          <pc:sldMk cId="3645046970" sldId="1982"/>
        </pc:sldMkLst>
        <pc:spChg chg="mod">
          <ac:chgData name="Aurelia Etlin" userId="17c626bb-ce18-4079-8178-d87f0118134e" providerId="ADAL" clId="{9684D8FF-B5F8-44FF-9A64-760426256ECB}" dt="2019-12-13T13:22:29.686" v="587" actId="255"/>
          <ac:spMkLst>
            <pc:docMk/>
            <pc:sldMk cId="3645046970" sldId="1982"/>
            <ac:spMk id="2" creationId="{7C8B99F1-CDC1-4D2F-94A2-9FA587C9FA9A}"/>
          </ac:spMkLst>
        </pc:spChg>
        <pc:spChg chg="del mod">
          <ac:chgData name="Aurelia Etlin" userId="17c626bb-ce18-4079-8178-d87f0118134e" providerId="ADAL" clId="{9684D8FF-B5F8-44FF-9A64-760426256ECB}" dt="2019-12-13T13:22:47.746" v="592" actId="478"/>
          <ac:spMkLst>
            <pc:docMk/>
            <pc:sldMk cId="3645046970" sldId="1982"/>
            <ac:spMk id="3" creationId="{704BB5D7-1C97-4E92-B07B-A9642A0CB561}"/>
          </ac:spMkLst>
        </pc:spChg>
        <pc:spChg chg="add del mod ord">
          <ac:chgData name="Aurelia Etlin" userId="17c626bb-ce18-4079-8178-d87f0118134e" providerId="ADAL" clId="{9684D8FF-B5F8-44FF-9A64-760426256ECB}" dt="2019-12-13T13:24:12.604" v="600" actId="478"/>
          <ac:spMkLst>
            <pc:docMk/>
            <pc:sldMk cId="3645046970" sldId="1982"/>
            <ac:spMk id="5" creationId="{E9DB61AA-116E-4CB0-A25D-A0F794D7B3D6}"/>
          </ac:spMkLst>
        </pc:spChg>
        <pc:spChg chg="add del mod">
          <ac:chgData name="Aurelia Etlin" userId="17c626bb-ce18-4079-8178-d87f0118134e" providerId="ADAL" clId="{9684D8FF-B5F8-44FF-9A64-760426256ECB}" dt="2019-12-13T13:24:06.963" v="597" actId="478"/>
          <ac:spMkLst>
            <pc:docMk/>
            <pc:sldMk cId="3645046970" sldId="1982"/>
            <ac:spMk id="7" creationId="{A284A6DE-CA7F-4A5C-AF9F-31CEAAFA227B}"/>
          </ac:spMkLst>
        </pc:spChg>
        <pc:spChg chg="add del mod">
          <ac:chgData name="Aurelia Etlin" userId="17c626bb-ce18-4079-8178-d87f0118134e" providerId="ADAL" clId="{9684D8FF-B5F8-44FF-9A64-760426256ECB}" dt="2019-12-13T13:24:15.474" v="602" actId="478"/>
          <ac:spMkLst>
            <pc:docMk/>
            <pc:sldMk cId="3645046970" sldId="1982"/>
            <ac:spMk id="9" creationId="{129C2495-8516-4B8B-8638-40B041F8C5E2}"/>
          </ac:spMkLst>
        </pc:spChg>
        <pc:spChg chg="add del mod">
          <ac:chgData name="Aurelia Etlin" userId="17c626bb-ce18-4079-8178-d87f0118134e" providerId="ADAL" clId="{9684D8FF-B5F8-44FF-9A64-760426256ECB}" dt="2019-12-13T13:25:11.261" v="608" actId="478"/>
          <ac:spMkLst>
            <pc:docMk/>
            <pc:sldMk cId="3645046970" sldId="1982"/>
            <ac:spMk id="11" creationId="{8275A526-4807-4A7F-926B-6C237BD3F4E2}"/>
          </ac:spMkLst>
        </pc:spChg>
        <pc:spChg chg="add del mod">
          <ac:chgData name="Aurelia Etlin" userId="17c626bb-ce18-4079-8178-d87f0118134e" providerId="ADAL" clId="{9684D8FF-B5F8-44FF-9A64-760426256ECB}" dt="2019-12-13T13:22:57.509" v="593" actId="478"/>
          <ac:spMkLst>
            <pc:docMk/>
            <pc:sldMk cId="3645046970" sldId="1982"/>
            <ac:spMk id="13" creationId="{C917C1E6-095B-4958-97F2-989964D7EB96}"/>
          </ac:spMkLst>
        </pc:spChg>
        <pc:spChg chg="add mod">
          <ac:chgData name="Aurelia Etlin" userId="17c626bb-ce18-4079-8178-d87f0118134e" providerId="ADAL" clId="{9684D8FF-B5F8-44FF-9A64-760426256ECB}" dt="2019-12-13T15:41:54.158" v="637" actId="255"/>
          <ac:spMkLst>
            <pc:docMk/>
            <pc:sldMk cId="3645046970" sldId="1982"/>
            <ac:spMk id="15" creationId="{937F9110-C36E-4A8F-8576-4D9E9C17C3F5}"/>
          </ac:spMkLst>
        </pc:spChg>
        <pc:spChg chg="add mod">
          <ac:chgData name="Aurelia Etlin" userId="17c626bb-ce18-4079-8178-d87f0118134e" providerId="ADAL" clId="{9684D8FF-B5F8-44FF-9A64-760426256ECB}" dt="2019-12-13T15:42:22.805" v="642" actId="1076"/>
          <ac:spMkLst>
            <pc:docMk/>
            <pc:sldMk cId="3645046970" sldId="1982"/>
            <ac:spMk id="17" creationId="{72093767-325B-4D82-B9E6-0759F19455B3}"/>
          </ac:spMkLst>
        </pc:spChg>
        <pc:spChg chg="add mod">
          <ac:chgData name="Aurelia Etlin" userId="17c626bb-ce18-4079-8178-d87f0118134e" providerId="ADAL" clId="{9684D8FF-B5F8-44FF-9A64-760426256ECB}" dt="2019-12-13T15:41:16.080" v="632" actId="1076"/>
          <ac:spMkLst>
            <pc:docMk/>
            <pc:sldMk cId="3645046970" sldId="1982"/>
            <ac:spMk id="19" creationId="{0E5FEA4D-463F-4731-B6B1-6A3351F45AAC}"/>
          </ac:spMkLst>
        </pc:spChg>
        <pc:spChg chg="add mod">
          <ac:chgData name="Aurelia Etlin" userId="17c626bb-ce18-4079-8178-d87f0118134e" providerId="ADAL" clId="{9684D8FF-B5F8-44FF-9A64-760426256ECB}" dt="2019-12-13T15:41:11.212" v="631" actId="1076"/>
          <ac:spMkLst>
            <pc:docMk/>
            <pc:sldMk cId="3645046970" sldId="1982"/>
            <ac:spMk id="21" creationId="{62EF1195-5F9E-40E2-9DCA-BCCF029A1A34}"/>
          </ac:spMkLst>
        </pc:spChg>
        <pc:picChg chg="add del mod">
          <ac:chgData name="Aurelia Etlin" userId="17c626bb-ce18-4079-8178-d87f0118134e" providerId="ADAL" clId="{9684D8FF-B5F8-44FF-9A64-760426256ECB}" dt="2019-12-13T13:24:10.252" v="598" actId="478"/>
          <ac:picMkLst>
            <pc:docMk/>
            <pc:sldMk cId="3645046970" sldId="1982"/>
            <ac:picMk id="4" creationId="{651E9A06-4079-4C57-A936-58F638A8DCCD}"/>
          </ac:picMkLst>
        </pc:picChg>
        <pc:picChg chg="add del mod">
          <ac:chgData name="Aurelia Etlin" userId="17c626bb-ce18-4079-8178-d87f0118134e" providerId="ADAL" clId="{9684D8FF-B5F8-44FF-9A64-760426256ECB}" dt="2019-12-13T13:24:04.571" v="595" actId="478"/>
          <ac:picMkLst>
            <pc:docMk/>
            <pc:sldMk cId="3645046970" sldId="1982"/>
            <ac:picMk id="6" creationId="{7E1A2EF6-C783-4958-A10C-AE5DB1071ADF}"/>
          </ac:picMkLst>
        </pc:picChg>
        <pc:picChg chg="add del mod ord">
          <ac:chgData name="Aurelia Etlin" userId="17c626bb-ce18-4079-8178-d87f0118134e" providerId="ADAL" clId="{9684D8FF-B5F8-44FF-9A64-760426256ECB}" dt="2019-12-13T13:24:14.036" v="601" actId="478"/>
          <ac:picMkLst>
            <pc:docMk/>
            <pc:sldMk cId="3645046970" sldId="1982"/>
            <ac:picMk id="8" creationId="{4449B782-3E8C-4958-878B-1D0F814AD4FA}"/>
          </ac:picMkLst>
        </pc:picChg>
        <pc:picChg chg="add del mod ord">
          <ac:chgData name="Aurelia Etlin" userId="17c626bb-ce18-4079-8178-d87f0118134e" providerId="ADAL" clId="{9684D8FF-B5F8-44FF-9A64-760426256ECB}" dt="2019-12-13T13:24:17.441" v="603" actId="478"/>
          <ac:picMkLst>
            <pc:docMk/>
            <pc:sldMk cId="3645046970" sldId="1982"/>
            <ac:picMk id="10" creationId="{C6402F14-AC55-45A5-9ABC-A03272CCD4E9}"/>
          </ac:picMkLst>
        </pc:picChg>
        <pc:picChg chg="add mod">
          <ac:chgData name="Aurelia Etlin" userId="17c626bb-ce18-4079-8178-d87f0118134e" providerId="ADAL" clId="{9684D8FF-B5F8-44FF-9A64-760426256ECB}" dt="2019-12-13T13:25:34.054" v="610" actId="1076"/>
          <ac:picMkLst>
            <pc:docMk/>
            <pc:sldMk cId="3645046970" sldId="1982"/>
            <ac:picMk id="14" creationId="{263A9127-EF56-492A-87FB-CB32BA58B9A2}"/>
          </ac:picMkLst>
        </pc:picChg>
        <pc:picChg chg="add mod">
          <ac:chgData name="Aurelia Etlin" userId="17c626bb-ce18-4079-8178-d87f0118134e" providerId="ADAL" clId="{9684D8FF-B5F8-44FF-9A64-760426256ECB}" dt="2019-12-13T13:25:28.759" v="609" actId="1076"/>
          <ac:picMkLst>
            <pc:docMk/>
            <pc:sldMk cId="3645046970" sldId="1982"/>
            <ac:picMk id="16" creationId="{15F2DA32-83A3-46A3-A8D2-6AC864909876}"/>
          </ac:picMkLst>
        </pc:picChg>
        <pc:picChg chg="add mod">
          <ac:chgData name="Aurelia Etlin" userId="17c626bb-ce18-4079-8178-d87f0118134e" providerId="ADAL" clId="{9684D8FF-B5F8-44FF-9A64-760426256ECB}" dt="2019-12-13T15:39:04.545" v="625" actId="1076"/>
          <ac:picMkLst>
            <pc:docMk/>
            <pc:sldMk cId="3645046970" sldId="1982"/>
            <ac:picMk id="18" creationId="{45E7301C-53C4-4EAA-BCE0-A3D367B2444B}"/>
          </ac:picMkLst>
        </pc:picChg>
        <pc:picChg chg="add mod">
          <ac:chgData name="Aurelia Etlin" userId="17c626bb-ce18-4079-8178-d87f0118134e" providerId="ADAL" clId="{9684D8FF-B5F8-44FF-9A64-760426256ECB}" dt="2019-12-13T13:24:59.978" v="607" actId="1076"/>
          <ac:picMkLst>
            <pc:docMk/>
            <pc:sldMk cId="3645046970" sldId="1982"/>
            <ac:picMk id="20" creationId="{8C7D9BCE-B7D5-4F8B-809A-72C7CA431F64}"/>
          </ac:picMkLst>
        </pc:picChg>
        <pc:picChg chg="add mod">
          <ac:chgData name="Aurelia Etlin" userId="17c626bb-ce18-4079-8178-d87f0118134e" providerId="ADAL" clId="{9684D8FF-B5F8-44FF-9A64-760426256ECB}" dt="2019-12-13T15:44:07.131" v="645" actId="1076"/>
          <ac:picMkLst>
            <pc:docMk/>
            <pc:sldMk cId="3645046970" sldId="1982"/>
            <ac:picMk id="3074" creationId="{4AEBB16E-EC0F-4DED-9E09-646EF77B5544}"/>
          </ac:picMkLst>
        </pc:picChg>
      </pc:sldChg>
      <pc:sldChg chg="modSp add">
        <pc:chgData name="Aurelia Etlin" userId="17c626bb-ce18-4079-8178-d87f0118134e" providerId="ADAL" clId="{9684D8FF-B5F8-44FF-9A64-760426256ECB}" dt="2019-12-13T16:26:46.450" v="1062" actId="14100"/>
        <pc:sldMkLst>
          <pc:docMk/>
          <pc:sldMk cId="80061797" sldId="1983"/>
        </pc:sldMkLst>
        <pc:spChg chg="mod">
          <ac:chgData name="Aurelia Etlin" userId="17c626bb-ce18-4079-8178-d87f0118134e" providerId="ADAL" clId="{9684D8FF-B5F8-44FF-9A64-760426256ECB}" dt="2019-12-13T16:26:28.695" v="1048" actId="1076"/>
          <ac:spMkLst>
            <pc:docMk/>
            <pc:sldMk cId="80061797" sldId="1983"/>
            <ac:spMk id="2" creationId="{06E4F2F9-1CFB-4041-84A8-4159C3482980}"/>
          </ac:spMkLst>
        </pc:spChg>
        <pc:spChg chg="mod">
          <ac:chgData name="Aurelia Etlin" userId="17c626bb-ce18-4079-8178-d87f0118134e" providerId="ADAL" clId="{9684D8FF-B5F8-44FF-9A64-760426256ECB}" dt="2019-12-13T16:26:46.450" v="1062" actId="14100"/>
          <ac:spMkLst>
            <pc:docMk/>
            <pc:sldMk cId="80061797" sldId="1983"/>
            <ac:spMk id="3" creationId="{46932757-3233-44ED-8175-391BECD18E7F}"/>
          </ac:spMkLst>
        </pc:spChg>
      </pc:sldChg>
      <pc:sldChg chg="add del">
        <pc:chgData name="Aurelia Etlin" userId="17c626bb-ce18-4079-8178-d87f0118134e" providerId="ADAL" clId="{9684D8FF-B5F8-44FF-9A64-760426256ECB}" dt="2019-12-13T16:26:02.654" v="1046" actId="47"/>
        <pc:sldMkLst>
          <pc:docMk/>
          <pc:sldMk cId="646262254" sldId="1983"/>
        </pc:sldMkLst>
      </pc:sldChg>
      <pc:sldChg chg="add del">
        <pc:chgData name="Aurelia Etlin" userId="17c626bb-ce18-4079-8178-d87f0118134e" providerId="ADAL" clId="{9684D8FF-B5F8-44FF-9A64-760426256ECB}" dt="2019-12-13T16:25:30.163" v="1043" actId="47"/>
        <pc:sldMkLst>
          <pc:docMk/>
          <pc:sldMk cId="1762044807" sldId="1983"/>
        </pc:sldMkLst>
      </pc:sldChg>
      <pc:sldChg chg="add del">
        <pc:chgData name="Aurelia Etlin" userId="17c626bb-ce18-4079-8178-d87f0118134e" providerId="ADAL" clId="{9684D8FF-B5F8-44FF-9A64-760426256ECB}" dt="2019-12-13T20:49:03.438" v="1098" actId="47"/>
        <pc:sldMkLst>
          <pc:docMk/>
          <pc:sldMk cId="976390415" sldId="1984"/>
        </pc:sldMkLst>
      </pc:sldChg>
      <pc:sldChg chg="addSp delSp modSp add delAnim">
        <pc:chgData name="Aurelia Etlin" userId="17c626bb-ce18-4079-8178-d87f0118134e" providerId="ADAL" clId="{9684D8FF-B5F8-44FF-9A64-760426256ECB}" dt="2019-12-16T21:24:00.816" v="1707" actId="1076"/>
        <pc:sldMkLst>
          <pc:docMk/>
          <pc:sldMk cId="1621800148" sldId="1985"/>
        </pc:sldMkLst>
        <pc:spChg chg="mod">
          <ac:chgData name="Aurelia Etlin" userId="17c626bb-ce18-4079-8178-d87f0118134e" providerId="ADAL" clId="{9684D8FF-B5F8-44FF-9A64-760426256ECB}" dt="2019-12-13T20:49:12.825" v="1102" actId="1076"/>
          <ac:spMkLst>
            <pc:docMk/>
            <pc:sldMk cId="1621800148" sldId="1985"/>
            <ac:spMk id="2" creationId="{890AF9ED-12F0-4BAC-88C7-19E5631017ED}"/>
          </ac:spMkLst>
        </pc:spChg>
        <pc:spChg chg="del mod">
          <ac:chgData name="Aurelia Etlin" userId="17c626bb-ce18-4079-8178-d87f0118134e" providerId="ADAL" clId="{9684D8FF-B5F8-44FF-9A64-760426256ECB}" dt="2019-12-13T20:49:48.500" v="1109" actId="478"/>
          <ac:spMkLst>
            <pc:docMk/>
            <pc:sldMk cId="1621800148" sldId="1985"/>
            <ac:spMk id="3" creationId="{F5330C12-610F-4CDF-AB3B-DC8B4E1D4467}"/>
          </ac:spMkLst>
        </pc:spChg>
        <pc:spChg chg="mod">
          <ac:chgData name="Aurelia Etlin" userId="17c626bb-ce18-4079-8178-d87f0118134e" providerId="ADAL" clId="{9684D8FF-B5F8-44FF-9A64-760426256ECB}" dt="2019-12-13T20:57:46.543" v="1130" actId="20577"/>
          <ac:spMkLst>
            <pc:docMk/>
            <pc:sldMk cId="1621800148" sldId="1985"/>
            <ac:spMk id="4" creationId="{2FB3EE5B-B10D-4135-B4D1-8D3CAFDB21F4}"/>
          </ac:spMkLst>
        </pc:spChg>
        <pc:spChg chg="del">
          <ac:chgData name="Aurelia Etlin" userId="17c626bb-ce18-4079-8178-d87f0118134e" providerId="ADAL" clId="{9684D8FF-B5F8-44FF-9A64-760426256ECB}" dt="2019-12-13T20:49:42.312" v="1108" actId="478"/>
          <ac:spMkLst>
            <pc:docMk/>
            <pc:sldMk cId="1621800148" sldId="1985"/>
            <ac:spMk id="5" creationId="{224DE9AF-75EE-4414-A712-A400C1ED0971}"/>
          </ac:spMkLst>
        </pc:spChg>
        <pc:spChg chg="del">
          <ac:chgData name="Aurelia Etlin" userId="17c626bb-ce18-4079-8178-d87f0118134e" providerId="ADAL" clId="{9684D8FF-B5F8-44FF-9A64-760426256ECB}" dt="2019-12-13T20:49:42.312" v="1108" actId="478"/>
          <ac:spMkLst>
            <pc:docMk/>
            <pc:sldMk cId="1621800148" sldId="1985"/>
            <ac:spMk id="6" creationId="{E8DC89AB-D8B4-43D8-9B15-A369E047184B}"/>
          </ac:spMkLst>
        </pc:spChg>
        <pc:spChg chg="del">
          <ac:chgData name="Aurelia Etlin" userId="17c626bb-ce18-4079-8178-d87f0118134e" providerId="ADAL" clId="{9684D8FF-B5F8-44FF-9A64-760426256ECB}" dt="2019-12-13T20:49:42.312" v="1108" actId="478"/>
          <ac:spMkLst>
            <pc:docMk/>
            <pc:sldMk cId="1621800148" sldId="1985"/>
            <ac:spMk id="7" creationId="{B0B42882-3AD4-40BE-BD79-F484526ECAF6}"/>
          </ac:spMkLst>
        </pc:spChg>
        <pc:spChg chg="del">
          <ac:chgData name="Aurelia Etlin" userId="17c626bb-ce18-4079-8178-d87f0118134e" providerId="ADAL" clId="{9684D8FF-B5F8-44FF-9A64-760426256ECB}" dt="2019-12-13T20:49:26.523" v="1105" actId="478"/>
          <ac:spMkLst>
            <pc:docMk/>
            <pc:sldMk cId="1621800148" sldId="1985"/>
            <ac:spMk id="8" creationId="{965D2C10-C73A-425A-AAA6-062D76AD14E1}"/>
          </ac:spMkLst>
        </pc:spChg>
        <pc:spChg chg="del">
          <ac:chgData name="Aurelia Etlin" userId="17c626bb-ce18-4079-8178-d87f0118134e" providerId="ADAL" clId="{9684D8FF-B5F8-44FF-9A64-760426256ECB}" dt="2019-12-13T20:49:20.697" v="1103" actId="478"/>
          <ac:spMkLst>
            <pc:docMk/>
            <pc:sldMk cId="1621800148" sldId="1985"/>
            <ac:spMk id="9" creationId="{5E5DA64F-FD5B-4403-88A8-F888FCB8E378}"/>
          </ac:spMkLst>
        </pc:spChg>
        <pc:spChg chg="del mod">
          <ac:chgData name="Aurelia Etlin" userId="17c626bb-ce18-4079-8178-d87f0118134e" providerId="ADAL" clId="{9684D8FF-B5F8-44FF-9A64-760426256ECB}" dt="2019-12-13T20:57:49.392" v="1131" actId="478"/>
          <ac:spMkLst>
            <pc:docMk/>
            <pc:sldMk cId="1621800148" sldId="1985"/>
            <ac:spMk id="10" creationId="{EB64BAD7-A8E2-42CF-97C3-BFB3E6C95E08}"/>
          </ac:spMkLst>
        </pc:spChg>
        <pc:spChg chg="del">
          <ac:chgData name="Aurelia Etlin" userId="17c626bb-ce18-4079-8178-d87f0118134e" providerId="ADAL" clId="{9684D8FF-B5F8-44FF-9A64-760426256ECB}" dt="2019-12-13T20:50:31.979" v="1122" actId="478"/>
          <ac:spMkLst>
            <pc:docMk/>
            <pc:sldMk cId="1621800148" sldId="1985"/>
            <ac:spMk id="11" creationId="{51CC8504-AC52-47D0-8457-C2BD8ED71908}"/>
          </ac:spMkLst>
        </pc:spChg>
        <pc:spChg chg="add del mod">
          <ac:chgData name="Aurelia Etlin" userId="17c626bb-ce18-4079-8178-d87f0118134e" providerId="ADAL" clId="{9684D8FF-B5F8-44FF-9A64-760426256ECB}" dt="2019-12-13T20:49:51.433" v="1110" actId="478"/>
          <ac:spMkLst>
            <pc:docMk/>
            <pc:sldMk cId="1621800148" sldId="1985"/>
            <ac:spMk id="15" creationId="{18C4C225-EC73-4E26-9DAE-E3D2608874DE}"/>
          </ac:spMkLst>
        </pc:spChg>
        <pc:grpChg chg="del mod">
          <ac:chgData name="Aurelia Etlin" userId="17c626bb-ce18-4079-8178-d87f0118134e" providerId="ADAL" clId="{9684D8FF-B5F8-44FF-9A64-760426256ECB}" dt="2019-12-13T20:50:24.807" v="1117" actId="478"/>
          <ac:grpSpMkLst>
            <pc:docMk/>
            <pc:sldMk cId="1621800148" sldId="1985"/>
            <ac:grpSpMk id="29" creationId="{B0F74405-AAA7-4ADE-8E08-7AB1E3EEBED4}"/>
          </ac:grpSpMkLst>
        </pc:grpChg>
        <pc:grpChg chg="mod">
          <ac:chgData name="Aurelia Etlin" userId="17c626bb-ce18-4079-8178-d87f0118134e" providerId="ADAL" clId="{9684D8FF-B5F8-44FF-9A64-760426256ECB}" dt="2019-12-16T21:24:00.816" v="1707" actId="1076"/>
          <ac:grpSpMkLst>
            <pc:docMk/>
            <pc:sldMk cId="1621800148" sldId="1985"/>
            <ac:grpSpMk id="33" creationId="{82230BE2-1817-44F8-8646-F27DD0434DEA}"/>
          </ac:grpSpMkLst>
        </pc:grpChg>
        <pc:grpChg chg="mod">
          <ac:chgData name="Aurelia Etlin" userId="17c626bb-ce18-4079-8178-d87f0118134e" providerId="ADAL" clId="{9684D8FF-B5F8-44FF-9A64-760426256ECB}" dt="2019-12-13T20:58:59.117" v="1150" actId="14100"/>
          <ac:grpSpMkLst>
            <pc:docMk/>
            <pc:sldMk cId="1621800148" sldId="1985"/>
            <ac:grpSpMk id="34" creationId="{074DB82C-381C-4BB4-81E4-C5C4E3F85DA2}"/>
          </ac:grpSpMkLst>
        </pc:grpChg>
        <pc:grpChg chg="del">
          <ac:chgData name="Aurelia Etlin" userId="17c626bb-ce18-4079-8178-d87f0118134e" providerId="ADAL" clId="{9684D8FF-B5F8-44FF-9A64-760426256ECB}" dt="2019-12-13T20:50:29.511" v="1121" actId="478"/>
          <ac:grpSpMkLst>
            <pc:docMk/>
            <pc:sldMk cId="1621800148" sldId="1985"/>
            <ac:grpSpMk id="37" creationId="{FDA832E5-F59A-4A42-B98D-BDD93B903413}"/>
          </ac:grpSpMkLst>
        </pc:grpChg>
        <pc:grpChg chg="mod">
          <ac:chgData name="Aurelia Etlin" userId="17c626bb-ce18-4079-8178-d87f0118134e" providerId="ADAL" clId="{9684D8FF-B5F8-44FF-9A64-760426256ECB}" dt="2019-12-13T20:59:30.056" v="1156" actId="1076"/>
          <ac:grpSpMkLst>
            <pc:docMk/>
            <pc:sldMk cId="1621800148" sldId="1985"/>
            <ac:grpSpMk id="45" creationId="{6C8D7622-D813-4FE0-B462-5AB56AA84BD4}"/>
          </ac:grpSpMkLst>
        </pc:grpChg>
        <pc:grpChg chg="del">
          <ac:chgData name="Aurelia Etlin" userId="17c626bb-ce18-4079-8178-d87f0118134e" providerId="ADAL" clId="{9684D8FF-B5F8-44FF-9A64-760426256ECB}" dt="2019-12-13T20:50:26.295" v="1118" actId="478"/>
          <ac:grpSpMkLst>
            <pc:docMk/>
            <pc:sldMk cId="1621800148" sldId="1985"/>
            <ac:grpSpMk id="48" creationId="{196E79F1-9B2C-41EE-B4FF-E4553CDB0B7D}"/>
          </ac:grpSpMkLst>
        </pc:grpChg>
        <pc:grpChg chg="del mod">
          <ac:chgData name="Aurelia Etlin" userId="17c626bb-ce18-4079-8178-d87f0118134e" providerId="ADAL" clId="{9684D8FF-B5F8-44FF-9A64-760426256ECB}" dt="2019-12-13T20:50:22.917" v="1115" actId="478"/>
          <ac:grpSpMkLst>
            <pc:docMk/>
            <pc:sldMk cId="1621800148" sldId="1985"/>
            <ac:grpSpMk id="56" creationId="{56DC17B4-255D-490A-8C08-169A796ECBE5}"/>
          </ac:grpSpMkLst>
        </pc:grpChg>
        <pc:grpChg chg="mod">
          <ac:chgData name="Aurelia Etlin" userId="17c626bb-ce18-4079-8178-d87f0118134e" providerId="ADAL" clId="{9684D8FF-B5F8-44FF-9A64-760426256ECB}" dt="2019-12-16T21:23:58.317" v="1706" actId="1076"/>
          <ac:grpSpMkLst>
            <pc:docMk/>
            <pc:sldMk cId="1621800148" sldId="1985"/>
            <ac:grpSpMk id="57" creationId="{CD05946B-920F-4E37-AA2B-03E662C3750A}"/>
          </ac:grpSpMkLst>
        </pc:grpChg>
        <pc:picChg chg="del mod">
          <ac:chgData name="Aurelia Etlin" userId="17c626bb-ce18-4079-8178-d87f0118134e" providerId="ADAL" clId="{9684D8FF-B5F8-44FF-9A64-760426256ECB}" dt="2019-12-13T20:50:28.053" v="1120" actId="478"/>
          <ac:picMkLst>
            <pc:docMk/>
            <pc:sldMk cId="1621800148" sldId="1985"/>
            <ac:picMk id="12" creationId="{D8EAAC5F-9A95-4C29-94FB-53F980BC0EDC}"/>
          </ac:picMkLst>
        </pc:picChg>
        <pc:picChg chg="mod">
          <ac:chgData name="Aurelia Etlin" userId="17c626bb-ce18-4079-8178-d87f0118134e" providerId="ADAL" clId="{9684D8FF-B5F8-44FF-9A64-760426256ECB}" dt="2019-12-13T20:59:24.567" v="1154" actId="1076"/>
          <ac:picMkLst>
            <pc:docMk/>
            <pc:sldMk cId="1621800148" sldId="1985"/>
            <ac:picMk id="13" creationId="{81E838D6-C216-4E58-B850-5E422CFE5AC9}"/>
          </ac:picMkLst>
        </pc:picChg>
        <pc:picChg chg="del">
          <ac:chgData name="Aurelia Etlin" userId="17c626bb-ce18-4079-8178-d87f0118134e" providerId="ADAL" clId="{9684D8FF-B5F8-44FF-9A64-760426256ECB}" dt="2019-12-13T20:49:32.901" v="1106" actId="478"/>
          <ac:picMkLst>
            <pc:docMk/>
            <pc:sldMk cId="1621800148" sldId="1985"/>
            <ac:picMk id="59" creationId="{6113B617-E43C-4058-BD3F-26779BD1A94E}"/>
          </ac:picMkLst>
        </pc:picChg>
        <pc:picChg chg="del">
          <ac:chgData name="Aurelia Etlin" userId="17c626bb-ce18-4079-8178-d87f0118134e" providerId="ADAL" clId="{9684D8FF-B5F8-44FF-9A64-760426256ECB}" dt="2019-12-13T20:49:32.901" v="1106" actId="478"/>
          <ac:picMkLst>
            <pc:docMk/>
            <pc:sldMk cId="1621800148" sldId="1985"/>
            <ac:picMk id="60" creationId="{066C092A-0A8B-4190-AF79-2316B4DDC516}"/>
          </ac:picMkLst>
        </pc:picChg>
        <pc:picChg chg="del">
          <ac:chgData name="Aurelia Etlin" userId="17c626bb-ce18-4079-8178-d87f0118134e" providerId="ADAL" clId="{9684D8FF-B5F8-44FF-9A64-760426256ECB}" dt="2019-12-13T20:49:32.901" v="1106" actId="478"/>
          <ac:picMkLst>
            <pc:docMk/>
            <pc:sldMk cId="1621800148" sldId="1985"/>
            <ac:picMk id="61" creationId="{CDBFA3FC-62E6-470D-9383-2B36D7F4BFDB}"/>
          </ac:picMkLst>
        </pc:picChg>
        <pc:picChg chg="del">
          <ac:chgData name="Aurelia Etlin" userId="17c626bb-ce18-4079-8178-d87f0118134e" providerId="ADAL" clId="{9684D8FF-B5F8-44FF-9A64-760426256ECB}" dt="2019-12-13T20:49:32.901" v="1106" actId="478"/>
          <ac:picMkLst>
            <pc:docMk/>
            <pc:sldMk cId="1621800148" sldId="1985"/>
            <ac:picMk id="62" creationId="{8D371842-ADE6-4A52-9036-807F3048D596}"/>
          </ac:picMkLst>
        </pc:picChg>
        <pc:picChg chg="del">
          <ac:chgData name="Aurelia Etlin" userId="17c626bb-ce18-4079-8178-d87f0118134e" providerId="ADAL" clId="{9684D8FF-B5F8-44FF-9A64-760426256ECB}" dt="2019-12-13T20:49:22.637" v="1104" actId="478"/>
          <ac:picMkLst>
            <pc:docMk/>
            <pc:sldMk cId="1621800148" sldId="1985"/>
            <ac:picMk id="63" creationId="{D2A7C33D-46C4-4C9F-8235-4CC62EA29DE2}"/>
          </ac:picMkLst>
        </pc:picChg>
        <pc:cxnChg chg="del">
          <ac:chgData name="Aurelia Etlin" userId="17c626bb-ce18-4079-8178-d87f0118134e" providerId="ADAL" clId="{9684D8FF-B5F8-44FF-9A64-760426256ECB}" dt="2019-12-13T20:49:56.895" v="1111" actId="478"/>
          <ac:cxnSpMkLst>
            <pc:docMk/>
            <pc:sldMk cId="1621800148" sldId="1985"/>
            <ac:cxnSpMk id="23" creationId="{2C8CD108-3799-4905-AE06-6D9C06BFF53A}"/>
          </ac:cxnSpMkLst>
        </pc:cxnChg>
      </pc:sldChg>
      <pc:sldChg chg="delSp modSp add delAnim">
        <pc:chgData name="Aurelia Etlin" userId="17c626bb-ce18-4079-8178-d87f0118134e" providerId="ADAL" clId="{9684D8FF-B5F8-44FF-9A64-760426256ECB}" dt="2019-12-13T22:39:08.852" v="1621" actId="1076"/>
        <pc:sldMkLst>
          <pc:docMk/>
          <pc:sldMk cId="3577659718" sldId="1986"/>
        </pc:sldMkLst>
        <pc:spChg chg="mod">
          <ac:chgData name="Aurelia Etlin" userId="17c626bb-ce18-4079-8178-d87f0118134e" providerId="ADAL" clId="{9684D8FF-B5F8-44FF-9A64-760426256ECB}" dt="2019-12-13T21:10:30.008" v="1222" actId="20577"/>
          <ac:spMkLst>
            <pc:docMk/>
            <pc:sldMk cId="3577659718" sldId="1986"/>
            <ac:spMk id="2" creationId="{890AF9ED-12F0-4BAC-88C7-19E5631017ED}"/>
          </ac:spMkLst>
        </pc:spChg>
        <pc:spChg chg="mod">
          <ac:chgData name="Aurelia Etlin" userId="17c626bb-ce18-4079-8178-d87f0118134e" providerId="ADAL" clId="{9684D8FF-B5F8-44FF-9A64-760426256ECB}" dt="2019-12-13T21:00:01.788" v="1173" actId="20577"/>
          <ac:spMkLst>
            <pc:docMk/>
            <pc:sldMk cId="3577659718" sldId="1986"/>
            <ac:spMk id="4" creationId="{2FB3EE5B-B10D-4135-B4D1-8D3CAFDB21F4}"/>
          </ac:spMkLst>
        </pc:spChg>
        <pc:spChg chg="del">
          <ac:chgData name="Aurelia Etlin" userId="17c626bb-ce18-4079-8178-d87f0118134e" providerId="ADAL" clId="{9684D8FF-B5F8-44FF-9A64-760426256ECB}" dt="2019-12-13T20:59:49.719" v="1161" actId="478"/>
          <ac:spMkLst>
            <pc:docMk/>
            <pc:sldMk cId="3577659718" sldId="1986"/>
            <ac:spMk id="10" creationId="{EB64BAD7-A8E2-42CF-97C3-BFB3E6C95E08}"/>
          </ac:spMkLst>
        </pc:spChg>
        <pc:spChg chg="del">
          <ac:chgData name="Aurelia Etlin" userId="17c626bb-ce18-4079-8178-d87f0118134e" providerId="ADAL" clId="{9684D8FF-B5F8-44FF-9A64-760426256ECB}" dt="2019-12-13T20:59:51.733" v="1162" actId="478"/>
          <ac:spMkLst>
            <pc:docMk/>
            <pc:sldMk cId="3577659718" sldId="1986"/>
            <ac:spMk id="11" creationId="{51CC8504-AC52-47D0-8457-C2BD8ED71908}"/>
          </ac:spMkLst>
        </pc:spChg>
        <pc:grpChg chg="mod">
          <ac:chgData name="Aurelia Etlin" userId="17c626bb-ce18-4079-8178-d87f0118134e" providerId="ADAL" clId="{9684D8FF-B5F8-44FF-9A64-760426256ECB}" dt="2019-12-13T21:10:14.346" v="1219" actId="1076"/>
          <ac:grpSpMkLst>
            <pc:docMk/>
            <pc:sldMk cId="3577659718" sldId="1986"/>
            <ac:grpSpMk id="29" creationId="{B0F74405-AAA7-4ADE-8E08-7AB1E3EEBED4}"/>
          </ac:grpSpMkLst>
        </pc:grpChg>
        <pc:grpChg chg="del">
          <ac:chgData name="Aurelia Etlin" userId="17c626bb-ce18-4079-8178-d87f0118134e" providerId="ADAL" clId="{9684D8FF-B5F8-44FF-9A64-760426256ECB}" dt="2019-12-13T20:59:47.592" v="1160" actId="478"/>
          <ac:grpSpMkLst>
            <pc:docMk/>
            <pc:sldMk cId="3577659718" sldId="1986"/>
            <ac:grpSpMk id="33" creationId="{82230BE2-1817-44F8-8646-F27DD0434DEA}"/>
          </ac:grpSpMkLst>
        </pc:grpChg>
        <pc:grpChg chg="del">
          <ac:chgData name="Aurelia Etlin" userId="17c626bb-ce18-4079-8178-d87f0118134e" providerId="ADAL" clId="{9684D8FF-B5F8-44FF-9A64-760426256ECB}" dt="2019-12-13T20:59:45.948" v="1159" actId="478"/>
          <ac:grpSpMkLst>
            <pc:docMk/>
            <pc:sldMk cId="3577659718" sldId="1986"/>
            <ac:grpSpMk id="34" creationId="{074DB82C-381C-4BB4-81E4-C5C4E3F85DA2}"/>
          </ac:grpSpMkLst>
        </pc:grpChg>
        <pc:grpChg chg="mod">
          <ac:chgData name="Aurelia Etlin" userId="17c626bb-ce18-4079-8178-d87f0118134e" providerId="ADAL" clId="{9684D8FF-B5F8-44FF-9A64-760426256ECB}" dt="2019-12-13T22:39:08.852" v="1621" actId="1076"/>
          <ac:grpSpMkLst>
            <pc:docMk/>
            <pc:sldMk cId="3577659718" sldId="1986"/>
            <ac:grpSpMk id="37" creationId="{FDA832E5-F59A-4A42-B98D-BDD93B903413}"/>
          </ac:grpSpMkLst>
        </pc:grpChg>
        <pc:grpChg chg="del">
          <ac:chgData name="Aurelia Etlin" userId="17c626bb-ce18-4079-8178-d87f0118134e" providerId="ADAL" clId="{9684D8FF-B5F8-44FF-9A64-760426256ECB}" dt="2019-12-13T20:59:45.090" v="1158" actId="478"/>
          <ac:grpSpMkLst>
            <pc:docMk/>
            <pc:sldMk cId="3577659718" sldId="1986"/>
            <ac:grpSpMk id="45" creationId="{6C8D7622-D813-4FE0-B462-5AB56AA84BD4}"/>
          </ac:grpSpMkLst>
        </pc:grpChg>
        <pc:grpChg chg="mod">
          <ac:chgData name="Aurelia Etlin" userId="17c626bb-ce18-4079-8178-d87f0118134e" providerId="ADAL" clId="{9684D8FF-B5F8-44FF-9A64-760426256ECB}" dt="2019-12-13T21:10:08.205" v="1217" actId="1076"/>
          <ac:grpSpMkLst>
            <pc:docMk/>
            <pc:sldMk cId="3577659718" sldId="1986"/>
            <ac:grpSpMk id="48" creationId="{196E79F1-9B2C-41EE-B4FF-E4553CDB0B7D}"/>
          </ac:grpSpMkLst>
        </pc:grpChg>
        <pc:grpChg chg="mod">
          <ac:chgData name="Aurelia Etlin" userId="17c626bb-ce18-4079-8178-d87f0118134e" providerId="ADAL" clId="{9684D8FF-B5F8-44FF-9A64-760426256ECB}" dt="2019-12-13T21:10:12.638" v="1218" actId="1076"/>
          <ac:grpSpMkLst>
            <pc:docMk/>
            <pc:sldMk cId="3577659718" sldId="1986"/>
            <ac:grpSpMk id="56" creationId="{56DC17B4-255D-490A-8C08-169A796ECBE5}"/>
          </ac:grpSpMkLst>
        </pc:grpChg>
        <pc:grpChg chg="del">
          <ac:chgData name="Aurelia Etlin" userId="17c626bb-ce18-4079-8178-d87f0118134e" providerId="ADAL" clId="{9684D8FF-B5F8-44FF-9A64-760426256ECB}" dt="2019-12-13T20:59:40.024" v="1157" actId="478"/>
          <ac:grpSpMkLst>
            <pc:docMk/>
            <pc:sldMk cId="3577659718" sldId="1986"/>
            <ac:grpSpMk id="57" creationId="{CD05946B-920F-4E37-AA2B-03E662C3750A}"/>
          </ac:grpSpMkLst>
        </pc:grpChg>
        <pc:picChg chg="mod">
          <ac:chgData name="Aurelia Etlin" userId="17c626bb-ce18-4079-8178-d87f0118134e" providerId="ADAL" clId="{9684D8FF-B5F8-44FF-9A64-760426256ECB}" dt="2019-12-13T22:38:59.423" v="1618" actId="1076"/>
          <ac:picMkLst>
            <pc:docMk/>
            <pc:sldMk cId="3577659718" sldId="1986"/>
            <ac:picMk id="12" creationId="{D8EAAC5F-9A95-4C29-94FB-53F980BC0EDC}"/>
          </ac:picMkLst>
        </pc:picChg>
        <pc:picChg chg="del">
          <ac:chgData name="Aurelia Etlin" userId="17c626bb-ce18-4079-8178-d87f0118134e" providerId="ADAL" clId="{9684D8FF-B5F8-44FF-9A64-760426256ECB}" dt="2019-12-13T20:59:54.764" v="1163" actId="478"/>
          <ac:picMkLst>
            <pc:docMk/>
            <pc:sldMk cId="3577659718" sldId="1986"/>
            <ac:picMk id="13" creationId="{81E838D6-C216-4E58-B850-5E422CFE5AC9}"/>
          </ac:picMkLst>
        </pc:picChg>
      </pc:sldChg>
      <pc:sldChg chg="modSp modNotesTx">
        <pc:chgData name="Aurelia Etlin" userId="17c626bb-ce18-4079-8178-d87f0118134e" providerId="ADAL" clId="{9684D8FF-B5F8-44FF-9A64-760426256ECB}" dt="2019-12-16T21:27:58.397" v="1733" actId="20577"/>
        <pc:sldMkLst>
          <pc:docMk/>
          <pc:sldMk cId="2343751490" sldId="1987"/>
        </pc:sldMkLst>
        <pc:spChg chg="mod">
          <ac:chgData name="Aurelia Etlin" userId="17c626bb-ce18-4079-8178-d87f0118134e" providerId="ADAL" clId="{9684D8FF-B5F8-44FF-9A64-760426256ECB}" dt="2019-12-16T21:27:55.131" v="1732" actId="20577"/>
          <ac:spMkLst>
            <pc:docMk/>
            <pc:sldMk cId="2343751490" sldId="1987"/>
            <ac:spMk id="2" creationId="{00000000-0000-0000-0000-000000000000}"/>
          </ac:spMkLst>
        </pc:spChg>
      </pc:sldChg>
      <pc:sldChg chg="modSp">
        <pc:chgData name="Aurelia Etlin" userId="17c626bb-ce18-4079-8178-d87f0118134e" providerId="ADAL" clId="{9684D8FF-B5F8-44FF-9A64-760426256ECB}" dt="2019-12-16T21:28:31.124" v="1742" actId="20577"/>
        <pc:sldMkLst>
          <pc:docMk/>
          <pc:sldMk cId="2890414443" sldId="1988"/>
        </pc:sldMkLst>
        <pc:spChg chg="mod">
          <ac:chgData name="Aurelia Etlin" userId="17c626bb-ce18-4079-8178-d87f0118134e" providerId="ADAL" clId="{9684D8FF-B5F8-44FF-9A64-760426256ECB}" dt="2019-12-16T21:28:31.124" v="1742" actId="20577"/>
          <ac:spMkLst>
            <pc:docMk/>
            <pc:sldMk cId="2890414443" sldId="1988"/>
            <ac:spMk id="2" creationId="{00000000-0000-0000-0000-000000000000}"/>
          </ac:spMkLst>
        </pc:spChg>
      </pc:sldChg>
      <pc:sldChg chg="modSp">
        <pc:chgData name="Aurelia Etlin" userId="17c626bb-ce18-4079-8178-d87f0118134e" providerId="ADAL" clId="{9684D8FF-B5F8-44FF-9A64-760426256ECB}" dt="2019-12-16T21:28:43.602" v="1757" actId="20577"/>
        <pc:sldMkLst>
          <pc:docMk/>
          <pc:sldMk cId="801005215" sldId="1989"/>
        </pc:sldMkLst>
        <pc:spChg chg="mod">
          <ac:chgData name="Aurelia Etlin" userId="17c626bb-ce18-4079-8178-d87f0118134e" providerId="ADAL" clId="{9684D8FF-B5F8-44FF-9A64-760426256ECB}" dt="2019-12-16T21:28:43.602" v="1757" actId="20577"/>
          <ac:spMkLst>
            <pc:docMk/>
            <pc:sldMk cId="801005215" sldId="1989"/>
            <ac:spMk id="2" creationId="{00000000-0000-0000-0000-000000000000}"/>
          </ac:spMkLst>
        </pc:spChg>
      </pc:sldChg>
      <pc:sldChg chg="modSp">
        <pc:chgData name="Aurelia Etlin" userId="17c626bb-ce18-4079-8178-d87f0118134e" providerId="ADAL" clId="{9684D8FF-B5F8-44FF-9A64-760426256ECB}" dt="2019-12-16T21:28:56.044" v="1761" actId="20577"/>
        <pc:sldMkLst>
          <pc:docMk/>
          <pc:sldMk cId="1803199138" sldId="1990"/>
        </pc:sldMkLst>
        <pc:spChg chg="mod">
          <ac:chgData name="Aurelia Etlin" userId="17c626bb-ce18-4079-8178-d87f0118134e" providerId="ADAL" clId="{9684D8FF-B5F8-44FF-9A64-760426256ECB}" dt="2019-12-16T21:28:56.044" v="1761" actId="20577"/>
          <ac:spMkLst>
            <pc:docMk/>
            <pc:sldMk cId="1803199138" sldId="1990"/>
            <ac:spMk id="2" creationId="{00000000-0000-0000-0000-000000000000}"/>
          </ac:spMkLst>
        </pc:spChg>
      </pc:sldChg>
      <pc:sldChg chg="modSp modNotesTx">
        <pc:chgData name="Aurelia Etlin" userId="17c626bb-ce18-4079-8178-d87f0118134e" providerId="ADAL" clId="{9684D8FF-B5F8-44FF-9A64-760426256ECB}" dt="2019-12-16T21:29:32.506" v="1816" actId="20577"/>
        <pc:sldMkLst>
          <pc:docMk/>
          <pc:sldMk cId="333321425" sldId="1991"/>
        </pc:sldMkLst>
        <pc:spChg chg="mod">
          <ac:chgData name="Aurelia Etlin" userId="17c626bb-ce18-4079-8178-d87f0118134e" providerId="ADAL" clId="{9684D8FF-B5F8-44FF-9A64-760426256ECB}" dt="2019-12-16T21:29:17.450" v="1781" actId="20577"/>
          <ac:spMkLst>
            <pc:docMk/>
            <pc:sldMk cId="333321425" sldId="1991"/>
            <ac:spMk id="2" creationId="{00000000-0000-0000-0000-000000000000}"/>
          </ac:spMkLst>
        </pc:spChg>
      </pc:sldChg>
      <pc:sldChg chg="add del">
        <pc:chgData name="Aurelia Etlin" userId="17c626bb-ce18-4079-8178-d87f0118134e" providerId="ADAL" clId="{9684D8FF-B5F8-44FF-9A64-760426256ECB}" dt="2019-12-16T21:29:05.901" v="1763" actId="47"/>
        <pc:sldMkLst>
          <pc:docMk/>
          <pc:sldMk cId="3080292341" sldId="1991"/>
        </pc:sldMkLst>
      </pc:sldChg>
      <pc:sldChg chg="modSp">
        <pc:chgData name="Aurelia Etlin" userId="17c626bb-ce18-4079-8178-d87f0118134e" providerId="ADAL" clId="{9684D8FF-B5F8-44FF-9A64-760426256ECB}" dt="2019-12-16T21:29:57.739" v="1833" actId="20577"/>
        <pc:sldMkLst>
          <pc:docMk/>
          <pc:sldMk cId="1209181217" sldId="1992"/>
        </pc:sldMkLst>
        <pc:spChg chg="mod">
          <ac:chgData name="Aurelia Etlin" userId="17c626bb-ce18-4079-8178-d87f0118134e" providerId="ADAL" clId="{9684D8FF-B5F8-44FF-9A64-760426256ECB}" dt="2019-12-16T21:29:57.739" v="1833" actId="20577"/>
          <ac:spMkLst>
            <pc:docMk/>
            <pc:sldMk cId="1209181217" sldId="1992"/>
            <ac:spMk id="2" creationId="{00000000-0000-0000-0000-000000000000}"/>
          </ac:spMkLst>
        </pc:spChg>
      </pc:sldChg>
      <pc:sldChg chg="modSp">
        <pc:chgData name="Aurelia Etlin" userId="17c626bb-ce18-4079-8178-d87f0118134e" providerId="ADAL" clId="{9684D8FF-B5F8-44FF-9A64-760426256ECB}" dt="2019-12-16T21:30:11.210" v="1842" actId="20577"/>
        <pc:sldMkLst>
          <pc:docMk/>
          <pc:sldMk cId="3132722899" sldId="1993"/>
        </pc:sldMkLst>
        <pc:spChg chg="mod">
          <ac:chgData name="Aurelia Etlin" userId="17c626bb-ce18-4079-8178-d87f0118134e" providerId="ADAL" clId="{9684D8FF-B5F8-44FF-9A64-760426256ECB}" dt="2019-12-16T21:30:11.210" v="1842" actId="20577"/>
          <ac:spMkLst>
            <pc:docMk/>
            <pc:sldMk cId="3132722899" sldId="1993"/>
            <ac:spMk id="2" creationId="{00000000-0000-0000-0000-000000000000}"/>
          </ac:spMkLst>
        </pc:spChg>
      </pc:sldChg>
      <pc:sldChg chg="modSp">
        <pc:chgData name="Aurelia Etlin" userId="17c626bb-ce18-4079-8178-d87f0118134e" providerId="ADAL" clId="{9684D8FF-B5F8-44FF-9A64-760426256ECB}" dt="2019-12-16T21:30:31.746" v="1867" actId="20577"/>
        <pc:sldMkLst>
          <pc:docMk/>
          <pc:sldMk cId="3393182836" sldId="1994"/>
        </pc:sldMkLst>
        <pc:spChg chg="mod">
          <ac:chgData name="Aurelia Etlin" userId="17c626bb-ce18-4079-8178-d87f0118134e" providerId="ADAL" clId="{9684D8FF-B5F8-44FF-9A64-760426256ECB}" dt="2019-12-16T21:30:31.746" v="1867" actId="20577"/>
          <ac:spMkLst>
            <pc:docMk/>
            <pc:sldMk cId="3393182836" sldId="1994"/>
            <ac:spMk id="2" creationId="{00000000-0000-0000-0000-000000000000}"/>
          </ac:spMkLst>
        </pc:spChg>
      </pc:sldChg>
      <pc:sldChg chg="modSp add">
        <pc:chgData name="Aurelia Etlin" userId="17c626bb-ce18-4079-8178-d87f0118134e" providerId="ADAL" clId="{9684D8FF-B5F8-44FF-9A64-760426256ECB}" dt="2019-12-16T21:30:54.690" v="1881" actId="20577"/>
        <pc:sldMkLst>
          <pc:docMk/>
          <pc:sldMk cId="3743676916" sldId="1995"/>
        </pc:sldMkLst>
        <pc:spChg chg="mod">
          <ac:chgData name="Aurelia Etlin" userId="17c626bb-ce18-4079-8178-d87f0118134e" providerId="ADAL" clId="{9684D8FF-B5F8-44FF-9A64-760426256ECB}" dt="2019-12-16T21:30:54.690" v="1881" actId="20577"/>
          <ac:spMkLst>
            <pc:docMk/>
            <pc:sldMk cId="3743676916" sldId="1995"/>
            <ac:spMk id="2" creationId="{00000000-0000-0000-0000-000000000000}"/>
          </ac:spMkLst>
        </pc:spChg>
      </pc:sldChg>
      <pc:sldChg chg="add del">
        <pc:chgData name="Aurelia Etlin" userId="17c626bb-ce18-4079-8178-d87f0118134e" providerId="ADAL" clId="{9684D8FF-B5F8-44FF-9A64-760426256ECB}" dt="2019-12-16T21:31:40.288" v="1887" actId="47"/>
        <pc:sldMkLst>
          <pc:docMk/>
          <pc:sldMk cId="446653254" sldId="1996"/>
        </pc:sldMkLst>
      </pc:sldChg>
      <pc:sldMasterChg chg="addSp delSp modSldLayout">
        <pc:chgData name="Aurelia Etlin" userId="17c626bb-ce18-4079-8178-d87f0118134e" providerId="ADAL" clId="{9684D8FF-B5F8-44FF-9A64-760426256ECB}" dt="2019-12-13T02:07:55.921" v="112"/>
        <pc:sldMasterMkLst>
          <pc:docMk/>
          <pc:sldMasterMk cId="2460954070" sldId="2147483660"/>
        </pc:sldMasterMkLst>
        <pc:spChg chg="add del">
          <ac:chgData name="Aurelia Etlin" userId="17c626bb-ce18-4079-8178-d87f0118134e" providerId="ADAL" clId="{9684D8FF-B5F8-44FF-9A64-760426256ECB}" dt="2019-12-13T02:06:19.946" v="99"/>
          <ac:spMkLst>
            <pc:docMk/>
            <pc:sldMasterMk cId="2460954070" sldId="2147483660"/>
            <ac:spMk id="7" creationId="{98FBE079-B8E4-439E-B725-E62CF79F330D}"/>
          </ac:spMkLst>
        </pc:spChg>
        <pc:sldLayoutChg chg="addSp delSp modSp">
          <pc:chgData name="Aurelia Etlin" userId="17c626bb-ce18-4079-8178-d87f0118134e" providerId="ADAL" clId="{9684D8FF-B5F8-44FF-9A64-760426256ECB}" dt="2019-12-13T02:07:19.213" v="107"/>
          <pc:sldLayoutMkLst>
            <pc:docMk/>
            <pc:sldMasterMk cId="2460954070" sldId="2147483660"/>
            <pc:sldLayoutMk cId="2385387890" sldId="2147483661"/>
          </pc:sldLayoutMkLst>
          <pc:spChg chg="add del">
            <ac:chgData name="Aurelia Etlin" userId="17c626bb-ce18-4079-8178-d87f0118134e" providerId="ADAL" clId="{9684D8FF-B5F8-44FF-9A64-760426256ECB}" dt="2019-12-13T02:06:41.362" v="102" actId="478"/>
            <ac:spMkLst>
              <pc:docMk/>
              <pc:sldMasterMk cId="2460954070" sldId="2147483660"/>
              <pc:sldLayoutMk cId="2385387890" sldId="2147483661"/>
              <ac:spMk id="7" creationId="{6D4B16D2-9B33-4842-819B-EC832D02E650}"/>
            </ac:spMkLst>
          </pc:spChg>
          <pc:spChg chg="add mod">
            <ac:chgData name="Aurelia Etlin" userId="17c626bb-ce18-4079-8178-d87f0118134e" providerId="ADAL" clId="{9684D8FF-B5F8-44FF-9A64-760426256ECB}" dt="2019-12-13T02:06:56.182" v="105" actId="1076"/>
            <ac:spMkLst>
              <pc:docMk/>
              <pc:sldMasterMk cId="2460954070" sldId="2147483660"/>
              <pc:sldLayoutMk cId="2385387890" sldId="2147483661"/>
              <ac:spMk id="9" creationId="{0049F4B4-AE42-4204-91CF-2C16E09AEADE}"/>
            </ac:spMkLst>
          </pc:spChg>
          <pc:spChg chg="add">
            <ac:chgData name="Aurelia Etlin" userId="17c626bb-ce18-4079-8178-d87f0118134e" providerId="ADAL" clId="{9684D8FF-B5F8-44FF-9A64-760426256ECB}" dt="2019-12-13T02:07:19.213" v="107"/>
            <ac:spMkLst>
              <pc:docMk/>
              <pc:sldMasterMk cId="2460954070" sldId="2147483660"/>
              <pc:sldLayoutMk cId="2385387890" sldId="2147483661"/>
              <ac:spMk id="11" creationId="{7005A992-D727-413E-A49C-4CBE988DD4BF}"/>
            </ac:spMkLst>
          </pc:spChg>
          <pc:picChg chg="add">
            <ac:chgData name="Aurelia Etlin" userId="17c626bb-ce18-4079-8178-d87f0118134e" providerId="ADAL" clId="{9684D8FF-B5F8-44FF-9A64-760426256ECB}" dt="2019-12-13T02:06:42.737" v="103"/>
            <ac:picMkLst>
              <pc:docMk/>
              <pc:sldMasterMk cId="2460954070" sldId="2147483660"/>
              <pc:sldLayoutMk cId="2385387890" sldId="2147483661"/>
              <ac:picMk id="8" creationId="{851C6924-1B04-43C9-AC2F-F274D7F69B9D}"/>
            </ac:picMkLst>
          </pc:picChg>
          <pc:picChg chg="add">
            <ac:chgData name="Aurelia Etlin" userId="17c626bb-ce18-4079-8178-d87f0118134e" providerId="ADAL" clId="{9684D8FF-B5F8-44FF-9A64-760426256ECB}" dt="2019-12-13T02:07:04.510" v="106"/>
            <ac:picMkLst>
              <pc:docMk/>
              <pc:sldMasterMk cId="2460954070" sldId="2147483660"/>
              <pc:sldLayoutMk cId="2385387890" sldId="2147483661"/>
              <ac:picMk id="10" creationId="{139AD953-C26D-4675-B6A0-286A999CAF71}"/>
            </ac:picMkLst>
          </pc:picChg>
        </pc:sldLayoutChg>
        <pc:sldLayoutChg chg="delSp modSp delAnim modAnim">
          <pc:chgData name="Aurelia Etlin" userId="17c626bb-ce18-4079-8178-d87f0118134e" providerId="ADAL" clId="{9684D8FF-B5F8-44FF-9A64-760426256ECB}" dt="2019-12-13T02:07:55.921" v="112"/>
          <pc:sldLayoutMkLst>
            <pc:docMk/>
            <pc:sldMasterMk cId="2460954070" sldId="2147483660"/>
            <pc:sldLayoutMk cId="635102312" sldId="2147483672"/>
          </pc:sldLayoutMkLst>
          <pc:spChg chg="mod">
            <ac:chgData name="Aurelia Etlin" userId="17c626bb-ce18-4079-8178-d87f0118134e" providerId="ADAL" clId="{9684D8FF-B5F8-44FF-9A64-760426256ECB}" dt="2019-12-13T02:07:52.751" v="110" actId="20577"/>
            <ac:spMkLst>
              <pc:docMk/>
              <pc:sldMasterMk cId="2460954070" sldId="2147483660"/>
              <pc:sldLayoutMk cId="635102312" sldId="2147483672"/>
              <ac:spMk id="11" creationId="{A5EED5F9-E966-4791-8CE2-1F0AFF7507D7}"/>
            </ac:spMkLst>
          </pc:spChg>
          <pc:spChg chg="mod">
            <ac:chgData name="Aurelia Etlin" userId="17c626bb-ce18-4079-8178-d87f0118134e" providerId="ADAL" clId="{9684D8FF-B5F8-44FF-9A64-760426256ECB}" dt="2019-12-13T02:07:41.373" v="108" actId="1076"/>
            <ac:spMkLst>
              <pc:docMk/>
              <pc:sldMasterMk cId="2460954070" sldId="2147483660"/>
              <pc:sldLayoutMk cId="635102312" sldId="2147483672"/>
              <ac:spMk id="17" creationId="{4BCDF35F-83D1-45A1-A01D-21CE2CB1B83D}"/>
            </ac:spMkLst>
          </pc:spChg>
          <pc:spChg chg="del mod">
            <ac:chgData name="Aurelia Etlin" userId="17c626bb-ce18-4079-8178-d87f0118134e" providerId="ADAL" clId="{9684D8FF-B5F8-44FF-9A64-760426256ECB}" dt="2019-12-13T02:07:55.921" v="112"/>
            <ac:spMkLst>
              <pc:docMk/>
              <pc:sldMasterMk cId="2460954070" sldId="2147483660"/>
              <pc:sldLayoutMk cId="635102312" sldId="2147483672"/>
              <ac:spMk id="18" creationId="{20D8C94A-2B2C-4ECE-B731-B1BA8431B34C}"/>
            </ac:spMkLst>
          </pc:spChg>
        </pc:sldLayoutChg>
      </pc:sldMasterChg>
      <pc:sldMasterChg chg="modSldLayout">
        <pc:chgData name="Aurelia Etlin" userId="17c626bb-ce18-4079-8178-d87f0118134e" providerId="ADAL" clId="{9684D8FF-B5F8-44FF-9A64-760426256ECB}" dt="2019-12-16T21:31:58.973" v="1890" actId="20577"/>
        <pc:sldMasterMkLst>
          <pc:docMk/>
          <pc:sldMasterMk cId="37023887" sldId="2147483686"/>
        </pc:sldMasterMkLst>
        <pc:sldLayoutChg chg="modSp">
          <pc:chgData name="Aurelia Etlin" userId="17c626bb-ce18-4079-8178-d87f0118134e" providerId="ADAL" clId="{9684D8FF-B5F8-44FF-9A64-760426256ECB}" dt="2019-12-16T21:31:58.973" v="1890" actId="20577"/>
          <pc:sldLayoutMkLst>
            <pc:docMk/>
            <pc:sldMasterMk cId="37023887" sldId="2147483686"/>
            <pc:sldLayoutMk cId="1251817222" sldId="2147483703"/>
          </pc:sldLayoutMkLst>
          <pc:spChg chg="mod">
            <ac:chgData name="Aurelia Etlin" userId="17c626bb-ce18-4079-8178-d87f0118134e" providerId="ADAL" clId="{9684D8FF-B5F8-44FF-9A64-760426256ECB}" dt="2019-12-16T21:31:58.973" v="1890" actId="20577"/>
            <ac:spMkLst>
              <pc:docMk/>
              <pc:sldMasterMk cId="37023887" sldId="2147483686"/>
              <pc:sldLayoutMk cId="1251817222" sldId="2147483703"/>
              <ac:spMk id="2" creationId="{00000000-0000-0000-0000-000000000000}"/>
            </ac:spMkLst>
          </pc:spChg>
        </pc:sldLayoutChg>
      </pc:sldMasterChg>
    </pc:docChg>
  </pc:docChgLst>
  <pc:docChgLst>
    <pc:chgData name="Marco Rocca" userId="8f0ba42f-40c7-46f4-9f3c-941e755a78e6" providerId="ADAL" clId="{35A5805E-0A4F-469D-9426-91CBBB50B217}"/>
    <pc:docChg chg="custSel addSld modSld">
      <pc:chgData name="Marco Rocca" userId="8f0ba42f-40c7-46f4-9f3c-941e755a78e6" providerId="ADAL" clId="{35A5805E-0A4F-469D-9426-91CBBB50B217}" dt="2020-06-08T09:02:52.190" v="196" actId="1076"/>
      <pc:docMkLst>
        <pc:docMk/>
      </pc:docMkLst>
      <pc:sldChg chg="addSp delSp modSp mod">
        <pc:chgData name="Marco Rocca" userId="8f0ba42f-40c7-46f4-9f3c-941e755a78e6" providerId="ADAL" clId="{35A5805E-0A4F-469D-9426-91CBBB50B217}" dt="2020-06-08T07:48:59.297" v="21" actId="255"/>
        <pc:sldMkLst>
          <pc:docMk/>
          <pc:sldMk cId="2761402525" sldId="2076136568"/>
        </pc:sldMkLst>
        <pc:spChg chg="mod">
          <ac:chgData name="Marco Rocca" userId="8f0ba42f-40c7-46f4-9f3c-941e755a78e6" providerId="ADAL" clId="{35A5805E-0A4F-469D-9426-91CBBB50B217}" dt="2020-06-08T07:48:59.297" v="21" actId="255"/>
          <ac:spMkLst>
            <pc:docMk/>
            <pc:sldMk cId="2761402525" sldId="2076136568"/>
            <ac:spMk id="2" creationId="{99B1DD74-ECFF-4F6D-A99A-166E150EA5D9}"/>
          </ac:spMkLst>
        </pc:spChg>
        <pc:spChg chg="mod">
          <ac:chgData name="Marco Rocca" userId="8f0ba42f-40c7-46f4-9f3c-941e755a78e6" providerId="ADAL" clId="{35A5805E-0A4F-469D-9426-91CBBB50B217}" dt="2020-06-08T07:47:02.826" v="12" actId="115"/>
          <ac:spMkLst>
            <pc:docMk/>
            <pc:sldMk cId="2761402525" sldId="2076136568"/>
            <ac:spMk id="3" creationId="{397EFE3C-103F-468B-BBA2-1D8E61F543BB}"/>
          </ac:spMkLst>
        </pc:spChg>
        <pc:picChg chg="add del mod">
          <ac:chgData name="Marco Rocca" userId="8f0ba42f-40c7-46f4-9f3c-941e755a78e6" providerId="ADAL" clId="{35A5805E-0A4F-469D-9426-91CBBB50B217}" dt="2020-06-08T07:48:01.742" v="15" actId="21"/>
          <ac:picMkLst>
            <pc:docMk/>
            <pc:sldMk cId="2761402525" sldId="2076136568"/>
            <ac:picMk id="5" creationId="{457275B2-2E21-4AA8-A4B7-0EA6747D51B6}"/>
          </ac:picMkLst>
        </pc:picChg>
        <pc:picChg chg="add mod">
          <ac:chgData name="Marco Rocca" userId="8f0ba42f-40c7-46f4-9f3c-941e755a78e6" providerId="ADAL" clId="{35A5805E-0A4F-469D-9426-91CBBB50B217}" dt="2020-06-08T07:48:37.541" v="19" actId="14100"/>
          <ac:picMkLst>
            <pc:docMk/>
            <pc:sldMk cId="2761402525" sldId="2076136568"/>
            <ac:picMk id="7" creationId="{C2656788-829A-4DB7-97F8-D6753E6B2CFB}"/>
          </ac:picMkLst>
        </pc:picChg>
      </pc:sldChg>
      <pc:sldChg chg="addSp delSp modSp add mod modAnim">
        <pc:chgData name="Marco Rocca" userId="8f0ba42f-40c7-46f4-9f3c-941e755a78e6" providerId="ADAL" clId="{35A5805E-0A4F-469D-9426-91CBBB50B217}" dt="2020-06-08T07:57:05.809" v="59"/>
        <pc:sldMkLst>
          <pc:docMk/>
          <pc:sldMk cId="3612278145" sldId="2076136569"/>
        </pc:sldMkLst>
        <pc:spChg chg="mod">
          <ac:chgData name="Marco Rocca" userId="8f0ba42f-40c7-46f4-9f3c-941e755a78e6" providerId="ADAL" clId="{35A5805E-0A4F-469D-9426-91CBBB50B217}" dt="2020-06-08T07:49:04.478" v="22" actId="255"/>
          <ac:spMkLst>
            <pc:docMk/>
            <pc:sldMk cId="3612278145" sldId="2076136569"/>
            <ac:spMk id="2" creationId="{99B1DD74-ECFF-4F6D-A99A-166E150EA5D9}"/>
          </ac:spMkLst>
        </pc:spChg>
        <pc:spChg chg="mod">
          <ac:chgData name="Marco Rocca" userId="8f0ba42f-40c7-46f4-9f3c-941e755a78e6" providerId="ADAL" clId="{35A5805E-0A4F-469D-9426-91CBBB50B217}" dt="2020-06-08T07:53:03.551" v="38"/>
          <ac:spMkLst>
            <pc:docMk/>
            <pc:sldMk cId="3612278145" sldId="2076136569"/>
            <ac:spMk id="3" creationId="{397EFE3C-103F-468B-BBA2-1D8E61F543BB}"/>
          </ac:spMkLst>
        </pc:spChg>
        <pc:picChg chg="add mod">
          <ac:chgData name="Marco Rocca" userId="8f0ba42f-40c7-46f4-9f3c-941e755a78e6" providerId="ADAL" clId="{35A5805E-0A4F-469D-9426-91CBBB50B217}" dt="2020-06-08T07:53:54.328" v="45" actId="1076"/>
          <ac:picMkLst>
            <pc:docMk/>
            <pc:sldMk cId="3612278145" sldId="2076136569"/>
            <ac:picMk id="5" creationId="{1978227B-DDC2-4291-B850-61A99FD2CAA5}"/>
          </ac:picMkLst>
        </pc:picChg>
        <pc:picChg chg="del">
          <ac:chgData name="Marco Rocca" userId="8f0ba42f-40c7-46f4-9f3c-941e755a78e6" providerId="ADAL" clId="{35A5805E-0A4F-469D-9426-91CBBB50B217}" dt="2020-06-08T07:53:05.303" v="39" actId="478"/>
          <ac:picMkLst>
            <pc:docMk/>
            <pc:sldMk cId="3612278145" sldId="2076136569"/>
            <ac:picMk id="7" creationId="{C2656788-829A-4DB7-97F8-D6753E6B2CFB}"/>
          </ac:picMkLst>
        </pc:picChg>
        <pc:picChg chg="add mod">
          <ac:chgData name="Marco Rocca" userId="8f0ba42f-40c7-46f4-9f3c-941e755a78e6" providerId="ADAL" clId="{35A5805E-0A4F-469D-9426-91CBBB50B217}" dt="2020-06-08T07:54:15.587" v="47" actId="1076"/>
          <ac:picMkLst>
            <pc:docMk/>
            <pc:sldMk cId="3612278145" sldId="2076136569"/>
            <ac:picMk id="8" creationId="{79D7F2FB-DE16-4167-BF86-6BD56567E603}"/>
          </ac:picMkLst>
        </pc:picChg>
        <pc:picChg chg="add mod ord">
          <ac:chgData name="Marco Rocca" userId="8f0ba42f-40c7-46f4-9f3c-941e755a78e6" providerId="ADAL" clId="{35A5805E-0A4F-469D-9426-91CBBB50B217}" dt="2020-06-08T07:55:40.929" v="55" actId="167"/>
          <ac:picMkLst>
            <pc:docMk/>
            <pc:sldMk cId="3612278145" sldId="2076136569"/>
            <ac:picMk id="10" creationId="{0DA9682E-47F3-46DC-AAF2-9DCAEAFBFE3F}"/>
          </ac:picMkLst>
        </pc:picChg>
      </pc:sldChg>
      <pc:sldChg chg="delSp modSp add mod">
        <pc:chgData name="Marco Rocca" userId="8f0ba42f-40c7-46f4-9f3c-941e755a78e6" providerId="ADAL" clId="{35A5805E-0A4F-469D-9426-91CBBB50B217}" dt="2020-06-08T08:48:01.238" v="135" actId="20577"/>
        <pc:sldMkLst>
          <pc:docMk/>
          <pc:sldMk cId="100854004" sldId="2076136570"/>
        </pc:sldMkLst>
        <pc:spChg chg="mod">
          <ac:chgData name="Marco Rocca" userId="8f0ba42f-40c7-46f4-9f3c-941e755a78e6" providerId="ADAL" clId="{35A5805E-0A4F-469D-9426-91CBBB50B217}" dt="2020-06-08T08:48:01.238" v="135" actId="20577"/>
          <ac:spMkLst>
            <pc:docMk/>
            <pc:sldMk cId="100854004" sldId="2076136570"/>
            <ac:spMk id="2" creationId="{99B1DD74-ECFF-4F6D-A99A-166E150EA5D9}"/>
          </ac:spMkLst>
        </pc:spChg>
        <pc:spChg chg="mod">
          <ac:chgData name="Marco Rocca" userId="8f0ba42f-40c7-46f4-9f3c-941e755a78e6" providerId="ADAL" clId="{35A5805E-0A4F-469D-9426-91CBBB50B217}" dt="2020-06-08T08:47:52.357" v="134" actId="20577"/>
          <ac:spMkLst>
            <pc:docMk/>
            <pc:sldMk cId="100854004" sldId="2076136570"/>
            <ac:spMk id="3" creationId="{397EFE3C-103F-468B-BBA2-1D8E61F543BB}"/>
          </ac:spMkLst>
        </pc:spChg>
        <pc:picChg chg="del">
          <ac:chgData name="Marco Rocca" userId="8f0ba42f-40c7-46f4-9f3c-941e755a78e6" providerId="ADAL" clId="{35A5805E-0A4F-469D-9426-91CBBB50B217}" dt="2020-06-08T07:54:41.721" v="49" actId="478"/>
          <ac:picMkLst>
            <pc:docMk/>
            <pc:sldMk cId="100854004" sldId="2076136570"/>
            <ac:picMk id="5" creationId="{1978227B-DDC2-4291-B850-61A99FD2CAA5}"/>
          </ac:picMkLst>
        </pc:picChg>
        <pc:picChg chg="del">
          <ac:chgData name="Marco Rocca" userId="8f0ba42f-40c7-46f4-9f3c-941e755a78e6" providerId="ADAL" clId="{35A5805E-0A4F-469D-9426-91CBBB50B217}" dt="2020-06-08T07:54:43.280" v="50" actId="478"/>
          <ac:picMkLst>
            <pc:docMk/>
            <pc:sldMk cId="100854004" sldId="2076136570"/>
            <ac:picMk id="8" creationId="{79D7F2FB-DE16-4167-BF86-6BD56567E603}"/>
          </ac:picMkLst>
        </pc:picChg>
      </pc:sldChg>
      <pc:sldChg chg="addSp modSp add mod">
        <pc:chgData name="Marco Rocca" userId="8f0ba42f-40c7-46f4-9f3c-941e755a78e6" providerId="ADAL" clId="{35A5805E-0A4F-469D-9426-91CBBB50B217}" dt="2020-06-08T09:02:52.190" v="196" actId="1076"/>
        <pc:sldMkLst>
          <pc:docMk/>
          <pc:sldMk cId="1498648644" sldId="2076136571"/>
        </pc:sldMkLst>
        <pc:spChg chg="mod">
          <ac:chgData name="Marco Rocca" userId="8f0ba42f-40c7-46f4-9f3c-941e755a78e6" providerId="ADAL" clId="{35A5805E-0A4F-469D-9426-91CBBB50B217}" dt="2020-06-08T08:48:44.692" v="168" actId="20577"/>
          <ac:spMkLst>
            <pc:docMk/>
            <pc:sldMk cId="1498648644" sldId="2076136571"/>
            <ac:spMk id="2" creationId="{99B1DD74-ECFF-4F6D-A99A-166E150EA5D9}"/>
          </ac:spMkLst>
        </pc:spChg>
        <pc:spChg chg="mod">
          <ac:chgData name="Marco Rocca" userId="8f0ba42f-40c7-46f4-9f3c-941e755a78e6" providerId="ADAL" clId="{35A5805E-0A4F-469D-9426-91CBBB50B217}" dt="2020-06-08T09:02:10.498" v="176" actId="27636"/>
          <ac:spMkLst>
            <pc:docMk/>
            <pc:sldMk cId="1498648644" sldId="2076136571"/>
            <ac:spMk id="3" creationId="{397EFE3C-103F-468B-BBA2-1D8E61F543BB}"/>
          </ac:spMkLst>
        </pc:spChg>
        <pc:spChg chg="add mod">
          <ac:chgData name="Marco Rocca" userId="8f0ba42f-40c7-46f4-9f3c-941e755a78e6" providerId="ADAL" clId="{35A5805E-0A4F-469D-9426-91CBBB50B217}" dt="2020-06-08T09:02:49.269" v="195" actId="14100"/>
          <ac:spMkLst>
            <pc:docMk/>
            <pc:sldMk cId="1498648644" sldId="2076136571"/>
            <ac:spMk id="6" creationId="{F87872F6-5051-49A5-A758-5FAB4B399952}"/>
          </ac:spMkLst>
        </pc:spChg>
        <pc:picChg chg="add mod">
          <ac:chgData name="Marco Rocca" userId="8f0ba42f-40c7-46f4-9f3c-941e755a78e6" providerId="ADAL" clId="{35A5805E-0A4F-469D-9426-91CBBB50B217}" dt="2020-06-08T09:02:52.190" v="196" actId="1076"/>
          <ac:picMkLst>
            <pc:docMk/>
            <pc:sldMk cId="1498648644" sldId="2076136571"/>
            <ac:picMk id="5" creationId="{774BFE0E-52CB-435D-8FDB-A02F8DF2FB00}"/>
          </ac:picMkLst>
        </pc:picChg>
      </pc:sldChg>
    </pc:docChg>
  </pc:docChgLst>
  <pc:docChgLst>
    <pc:chgData name="Amber Weise" userId="3ca30e27-9a99-4c36-a22b-2cf2c031f50a" providerId="ADAL" clId="{8DD05165-A3C2-4D9A-999E-585F7A4ECD1A}"/>
    <pc:docChg chg="undo custSel addSld delSld modSld modSection">
      <pc:chgData name="Amber Weise" userId="3ca30e27-9a99-4c36-a22b-2cf2c031f50a" providerId="ADAL" clId="{8DD05165-A3C2-4D9A-999E-585F7A4ECD1A}" dt="2020-01-13T18:24:12.404" v="332" actId="1582"/>
      <pc:docMkLst>
        <pc:docMk/>
      </pc:docMkLst>
      <pc:sldChg chg="addSp modSp mod">
        <pc:chgData name="Amber Weise" userId="3ca30e27-9a99-4c36-a22b-2cf2c031f50a" providerId="ADAL" clId="{8DD05165-A3C2-4D9A-999E-585F7A4ECD1A}" dt="2020-01-13T18:24:12.404" v="332" actId="1582"/>
        <pc:sldMkLst>
          <pc:docMk/>
          <pc:sldMk cId="1083707648" sldId="297"/>
        </pc:sldMkLst>
        <pc:graphicFrameChg chg="modGraphic">
          <ac:chgData name="Amber Weise" userId="3ca30e27-9a99-4c36-a22b-2cf2c031f50a" providerId="ADAL" clId="{8DD05165-A3C2-4D9A-999E-585F7A4ECD1A}" dt="2020-01-13T18:22:58.186" v="325" actId="255"/>
          <ac:graphicFrameMkLst>
            <pc:docMk/>
            <pc:sldMk cId="1083707648" sldId="297"/>
            <ac:graphicFrameMk id="6" creationId="{113F84CF-5A00-4CEB-AA51-F83919B6FDC5}"/>
          </ac:graphicFrameMkLst>
        </pc:graphicFrameChg>
        <pc:cxnChg chg="add mod">
          <ac:chgData name="Amber Weise" userId="3ca30e27-9a99-4c36-a22b-2cf2c031f50a" providerId="ADAL" clId="{8DD05165-A3C2-4D9A-999E-585F7A4ECD1A}" dt="2020-01-13T18:24:12.404" v="332" actId="1582"/>
          <ac:cxnSpMkLst>
            <pc:docMk/>
            <pc:sldMk cId="1083707648" sldId="297"/>
            <ac:cxnSpMk id="7" creationId="{ED43ED29-E9C1-4B46-904B-AB6676066F66}"/>
          </ac:cxnSpMkLst>
        </pc:cxnChg>
      </pc:sldChg>
      <pc:sldChg chg="modNotesTx">
        <pc:chgData name="Amber Weise" userId="3ca30e27-9a99-4c36-a22b-2cf2c031f50a" providerId="ADAL" clId="{8DD05165-A3C2-4D9A-999E-585F7A4ECD1A}" dt="2020-01-13T17:49:36.068" v="5" actId="20577"/>
        <pc:sldMkLst>
          <pc:docMk/>
          <pc:sldMk cId="1869636694" sldId="319"/>
        </pc:sldMkLst>
      </pc:sldChg>
      <pc:sldChg chg="del">
        <pc:chgData name="Amber Weise" userId="3ca30e27-9a99-4c36-a22b-2cf2c031f50a" providerId="ADAL" clId="{8DD05165-A3C2-4D9A-999E-585F7A4ECD1A}" dt="2020-01-13T17:08:40.271" v="0" actId="47"/>
        <pc:sldMkLst>
          <pc:docMk/>
          <pc:sldMk cId="150344561" sldId="333"/>
        </pc:sldMkLst>
      </pc:sldChg>
      <pc:sldChg chg="addSp delSp modSp add mod">
        <pc:chgData name="Amber Weise" userId="3ca30e27-9a99-4c36-a22b-2cf2c031f50a" providerId="ADAL" clId="{8DD05165-A3C2-4D9A-999E-585F7A4ECD1A}" dt="2020-01-13T18:04:00.247" v="322" actId="14100"/>
        <pc:sldMkLst>
          <pc:docMk/>
          <pc:sldMk cId="189618967" sldId="1996"/>
        </pc:sldMkLst>
        <pc:spChg chg="mod">
          <ac:chgData name="Amber Weise" userId="3ca30e27-9a99-4c36-a22b-2cf2c031f50a" providerId="ADAL" clId="{8DD05165-A3C2-4D9A-999E-585F7A4ECD1A}" dt="2020-01-13T18:00:52.066" v="63" actId="1076"/>
          <ac:spMkLst>
            <pc:docMk/>
            <pc:sldMk cId="189618967" sldId="1996"/>
            <ac:spMk id="2" creationId="{A4298722-ABE9-4C3F-AC35-DEB945C8E36F}"/>
          </ac:spMkLst>
        </pc:spChg>
        <pc:spChg chg="del mod">
          <ac:chgData name="Amber Weise" userId="3ca30e27-9a99-4c36-a22b-2cf2c031f50a" providerId="ADAL" clId="{8DD05165-A3C2-4D9A-999E-585F7A4ECD1A}" dt="2020-01-13T18:00:37.843" v="59" actId="478"/>
          <ac:spMkLst>
            <pc:docMk/>
            <pc:sldMk cId="189618967" sldId="1996"/>
            <ac:spMk id="3" creationId="{6A683440-3AF7-420A-8F71-1C78B69CA73D}"/>
          </ac:spMkLst>
        </pc:spChg>
        <pc:spChg chg="add mod">
          <ac:chgData name="Amber Weise" userId="3ca30e27-9a99-4c36-a22b-2cf2c031f50a" providerId="ADAL" clId="{8DD05165-A3C2-4D9A-999E-585F7A4ECD1A}" dt="2020-01-13T18:01:24.467" v="141" actId="1076"/>
          <ac:spMkLst>
            <pc:docMk/>
            <pc:sldMk cId="189618967" sldId="1996"/>
            <ac:spMk id="6" creationId="{8A0E3B0A-7432-40F1-AB73-3500FCAE57AE}"/>
          </ac:spMkLst>
        </pc:spChg>
        <pc:spChg chg="add mod">
          <ac:chgData name="Amber Weise" userId="3ca30e27-9a99-4c36-a22b-2cf2c031f50a" providerId="ADAL" clId="{8DD05165-A3C2-4D9A-999E-585F7A4ECD1A}" dt="2020-01-13T18:02:40.010" v="250" actId="14100"/>
          <ac:spMkLst>
            <pc:docMk/>
            <pc:sldMk cId="189618967" sldId="1996"/>
            <ac:spMk id="7" creationId="{E9795D23-04E2-4DED-9E63-9E5672E3E14D}"/>
          </ac:spMkLst>
        </pc:spChg>
        <pc:spChg chg="add mod">
          <ac:chgData name="Amber Weise" userId="3ca30e27-9a99-4c36-a22b-2cf2c031f50a" providerId="ADAL" clId="{8DD05165-A3C2-4D9A-999E-585F7A4ECD1A}" dt="2020-01-13T18:03:06.809" v="256" actId="1076"/>
          <ac:spMkLst>
            <pc:docMk/>
            <pc:sldMk cId="189618967" sldId="1996"/>
            <ac:spMk id="11" creationId="{A4A4BA9E-C3FA-4431-B185-C170EE032866}"/>
          </ac:spMkLst>
        </pc:spChg>
        <pc:spChg chg="add mod">
          <ac:chgData name="Amber Weise" userId="3ca30e27-9a99-4c36-a22b-2cf2c031f50a" providerId="ADAL" clId="{8DD05165-A3C2-4D9A-999E-585F7A4ECD1A}" dt="2020-01-13T18:03:15.143" v="258" actId="1076"/>
          <ac:spMkLst>
            <pc:docMk/>
            <pc:sldMk cId="189618967" sldId="1996"/>
            <ac:spMk id="12" creationId="{83F6C08C-DB4B-4600-8C3B-CEA8DE088931}"/>
          </ac:spMkLst>
        </pc:spChg>
        <pc:spChg chg="add mod">
          <ac:chgData name="Amber Weise" userId="3ca30e27-9a99-4c36-a22b-2cf2c031f50a" providerId="ADAL" clId="{8DD05165-A3C2-4D9A-999E-585F7A4ECD1A}" dt="2020-01-13T18:03:44.525" v="317" actId="313"/>
          <ac:spMkLst>
            <pc:docMk/>
            <pc:sldMk cId="189618967" sldId="1996"/>
            <ac:spMk id="13" creationId="{75C43267-F611-494C-B440-4EFE2ED1E708}"/>
          </ac:spMkLst>
        </pc:spChg>
        <pc:picChg chg="add mod">
          <ac:chgData name="Amber Weise" userId="3ca30e27-9a99-4c36-a22b-2cf2c031f50a" providerId="ADAL" clId="{8DD05165-A3C2-4D9A-999E-585F7A4ECD1A}" dt="2020-01-13T18:00:07.247" v="53" actId="1076"/>
          <ac:picMkLst>
            <pc:docMk/>
            <pc:sldMk cId="189618967" sldId="1996"/>
            <ac:picMk id="4" creationId="{4BA76F76-2C48-482F-8C8D-9FA882FC039E}"/>
          </ac:picMkLst>
        </pc:picChg>
        <pc:picChg chg="add mod">
          <ac:chgData name="Amber Weise" userId="3ca30e27-9a99-4c36-a22b-2cf2c031f50a" providerId="ADAL" clId="{8DD05165-A3C2-4D9A-999E-585F7A4ECD1A}" dt="2020-01-13T18:00:20.327" v="57" actId="1076"/>
          <ac:picMkLst>
            <pc:docMk/>
            <pc:sldMk cId="189618967" sldId="1996"/>
            <ac:picMk id="5" creationId="{F832D26C-5879-4FD1-B81E-4084EAA83AA1}"/>
          </ac:picMkLst>
        </pc:picChg>
        <pc:cxnChg chg="add mod">
          <ac:chgData name="Amber Weise" userId="3ca30e27-9a99-4c36-a22b-2cf2c031f50a" providerId="ADAL" clId="{8DD05165-A3C2-4D9A-999E-585F7A4ECD1A}" dt="2020-01-13T18:02:46.676" v="252" actId="14100"/>
          <ac:cxnSpMkLst>
            <pc:docMk/>
            <pc:sldMk cId="189618967" sldId="1996"/>
            <ac:cxnSpMk id="8" creationId="{DD9C7485-7D0F-4A5C-84EF-CE90AA5F94AA}"/>
          </ac:cxnSpMkLst>
        </pc:cxnChg>
        <pc:cxnChg chg="add mod">
          <ac:chgData name="Amber Weise" userId="3ca30e27-9a99-4c36-a22b-2cf2c031f50a" providerId="ADAL" clId="{8DD05165-A3C2-4D9A-999E-585F7A4ECD1A}" dt="2020-01-13T18:04:00.247" v="322" actId="14100"/>
          <ac:cxnSpMkLst>
            <pc:docMk/>
            <pc:sldMk cId="189618967" sldId="1996"/>
            <ac:cxnSpMk id="14" creationId="{174DEFBF-5C06-4D29-ABCD-BA41CEEBA995}"/>
          </ac:cxnSpMkLst>
        </pc:cxnChg>
      </pc:sldChg>
    </pc:docChg>
  </pc:docChgLst>
  <pc:docChgLst>
    <pc:chgData name="Amber Weise" userId="3ca30e27-9a99-4c36-a22b-2cf2c031f50a" providerId="ADAL" clId="{FF4D6404-2DCE-479D-B9A6-36980450AA1E}"/>
    <pc:docChg chg="undo redo custSel delSld modSld modSection">
      <pc:chgData name="Amber Weise" userId="3ca30e27-9a99-4c36-a22b-2cf2c031f50a" providerId="ADAL" clId="{FF4D6404-2DCE-479D-B9A6-36980450AA1E}" dt="2019-10-08T15:19:51.823" v="1596" actId="47"/>
      <pc:docMkLst>
        <pc:docMk/>
      </pc:docMkLst>
      <pc:sldChg chg="modSp addCm modCm">
        <pc:chgData name="Amber Weise" userId="3ca30e27-9a99-4c36-a22b-2cf2c031f50a" providerId="ADAL" clId="{FF4D6404-2DCE-479D-B9A6-36980450AA1E}" dt="2019-10-08T15:13:58.761" v="1425"/>
        <pc:sldMkLst>
          <pc:docMk/>
          <pc:sldMk cId="109857222" sldId="256"/>
        </pc:sldMkLst>
        <pc:spChg chg="mod">
          <ac:chgData name="Amber Weise" userId="3ca30e27-9a99-4c36-a22b-2cf2c031f50a" providerId="ADAL" clId="{FF4D6404-2DCE-479D-B9A6-36980450AA1E}" dt="2019-10-08T13:14:36.615" v="1" actId="20577"/>
          <ac:spMkLst>
            <pc:docMk/>
            <pc:sldMk cId="109857222" sldId="256"/>
            <ac:spMk id="3" creationId="{00000000-0000-0000-0000-000000000000}"/>
          </ac:spMkLst>
        </pc:spChg>
      </pc:sldChg>
      <pc:sldChg chg="del">
        <pc:chgData name="Amber Weise" userId="3ca30e27-9a99-4c36-a22b-2cf2c031f50a" providerId="ADAL" clId="{FF4D6404-2DCE-479D-B9A6-36980450AA1E}" dt="2019-10-08T14:17:14.473" v="998" actId="47"/>
        <pc:sldMkLst>
          <pc:docMk/>
          <pc:sldMk cId="2037749219" sldId="257"/>
        </pc:sldMkLst>
      </pc:sldChg>
      <pc:sldChg chg="addSp delSp modSp modAnim">
        <pc:chgData name="Amber Weise" userId="3ca30e27-9a99-4c36-a22b-2cf2c031f50a" providerId="ADAL" clId="{FF4D6404-2DCE-479D-B9A6-36980450AA1E}" dt="2019-10-08T14:03:04.252" v="769" actId="1076"/>
        <pc:sldMkLst>
          <pc:docMk/>
          <pc:sldMk cId="1756818721" sldId="262"/>
        </pc:sldMkLst>
        <pc:spChg chg="mod">
          <ac:chgData name="Amber Weise" userId="3ca30e27-9a99-4c36-a22b-2cf2c031f50a" providerId="ADAL" clId="{FF4D6404-2DCE-479D-B9A6-36980450AA1E}" dt="2019-10-08T13:31:07.230" v="333" actId="1076"/>
          <ac:spMkLst>
            <pc:docMk/>
            <pc:sldMk cId="1756818721" sldId="262"/>
            <ac:spMk id="2" creationId="{890AF9ED-12F0-4BAC-88C7-19E5631017ED}"/>
          </ac:spMkLst>
        </pc:spChg>
        <pc:spChg chg="mod">
          <ac:chgData name="Amber Weise" userId="3ca30e27-9a99-4c36-a22b-2cf2c031f50a" providerId="ADAL" clId="{FF4D6404-2DCE-479D-B9A6-36980450AA1E}" dt="2019-10-08T13:32:16.257" v="344" actId="403"/>
          <ac:spMkLst>
            <pc:docMk/>
            <pc:sldMk cId="1756818721" sldId="262"/>
            <ac:spMk id="3" creationId="{F5330C12-610F-4CDF-AB3B-DC8B4E1D4467}"/>
          </ac:spMkLst>
        </pc:spChg>
        <pc:spChg chg="mod">
          <ac:chgData name="Amber Weise" userId="3ca30e27-9a99-4c36-a22b-2cf2c031f50a" providerId="ADAL" clId="{FF4D6404-2DCE-479D-B9A6-36980450AA1E}" dt="2019-10-08T13:31:12.129" v="335" actId="1076"/>
          <ac:spMkLst>
            <pc:docMk/>
            <pc:sldMk cId="1756818721" sldId="262"/>
            <ac:spMk id="4" creationId="{2FB3EE5B-B10D-4135-B4D1-8D3CAFDB21F4}"/>
          </ac:spMkLst>
        </pc:spChg>
        <pc:spChg chg="add mod">
          <ac:chgData name="Amber Weise" userId="3ca30e27-9a99-4c36-a22b-2cf2c031f50a" providerId="ADAL" clId="{FF4D6404-2DCE-479D-B9A6-36980450AA1E}" dt="2019-10-08T13:53:44.170" v="554" actId="14100"/>
          <ac:spMkLst>
            <pc:docMk/>
            <pc:sldMk cId="1756818721" sldId="262"/>
            <ac:spMk id="5" creationId="{224DE9AF-75EE-4414-A712-A400C1ED0971}"/>
          </ac:spMkLst>
        </pc:spChg>
        <pc:spChg chg="add mod">
          <ac:chgData name="Amber Weise" userId="3ca30e27-9a99-4c36-a22b-2cf2c031f50a" providerId="ADAL" clId="{FF4D6404-2DCE-479D-B9A6-36980450AA1E}" dt="2019-10-08T13:53:44.170" v="554" actId="14100"/>
          <ac:spMkLst>
            <pc:docMk/>
            <pc:sldMk cId="1756818721" sldId="262"/>
            <ac:spMk id="6" creationId="{E8DC89AB-D8B4-43D8-9B15-A369E047184B}"/>
          </ac:spMkLst>
        </pc:spChg>
        <pc:spChg chg="add mod">
          <ac:chgData name="Amber Weise" userId="3ca30e27-9a99-4c36-a22b-2cf2c031f50a" providerId="ADAL" clId="{FF4D6404-2DCE-479D-B9A6-36980450AA1E}" dt="2019-10-08T13:53:44.170" v="554" actId="14100"/>
          <ac:spMkLst>
            <pc:docMk/>
            <pc:sldMk cId="1756818721" sldId="262"/>
            <ac:spMk id="7" creationId="{B0B42882-3AD4-40BE-BD79-F484526ECAF6}"/>
          </ac:spMkLst>
        </pc:spChg>
        <pc:spChg chg="add mod">
          <ac:chgData name="Amber Weise" userId="3ca30e27-9a99-4c36-a22b-2cf2c031f50a" providerId="ADAL" clId="{FF4D6404-2DCE-479D-B9A6-36980450AA1E}" dt="2019-10-08T13:53:44.170" v="554" actId="14100"/>
          <ac:spMkLst>
            <pc:docMk/>
            <pc:sldMk cId="1756818721" sldId="262"/>
            <ac:spMk id="8" creationId="{965D2C10-C73A-425A-AAA6-062D76AD14E1}"/>
          </ac:spMkLst>
        </pc:spChg>
        <pc:spChg chg="add mod">
          <ac:chgData name="Amber Weise" userId="3ca30e27-9a99-4c36-a22b-2cf2c031f50a" providerId="ADAL" clId="{FF4D6404-2DCE-479D-B9A6-36980450AA1E}" dt="2019-10-08T13:53:44.170" v="554" actId="14100"/>
          <ac:spMkLst>
            <pc:docMk/>
            <pc:sldMk cId="1756818721" sldId="262"/>
            <ac:spMk id="9" creationId="{5E5DA64F-FD5B-4403-88A8-F888FCB8E378}"/>
          </ac:spMkLst>
        </pc:spChg>
        <pc:spChg chg="add mod">
          <ac:chgData name="Amber Weise" userId="3ca30e27-9a99-4c36-a22b-2cf2c031f50a" providerId="ADAL" clId="{FF4D6404-2DCE-479D-B9A6-36980450AA1E}" dt="2019-10-08T13:34:41.497" v="367" actId="1076"/>
          <ac:spMkLst>
            <pc:docMk/>
            <pc:sldMk cId="1756818721" sldId="262"/>
            <ac:spMk id="10" creationId="{EB64BAD7-A8E2-42CF-97C3-BFB3E6C95E08}"/>
          </ac:spMkLst>
        </pc:spChg>
        <pc:spChg chg="add mod">
          <ac:chgData name="Amber Weise" userId="3ca30e27-9a99-4c36-a22b-2cf2c031f50a" providerId="ADAL" clId="{FF4D6404-2DCE-479D-B9A6-36980450AA1E}" dt="2019-10-08T13:34:59.586" v="371" actId="1076"/>
          <ac:spMkLst>
            <pc:docMk/>
            <pc:sldMk cId="1756818721" sldId="262"/>
            <ac:spMk id="11" creationId="{51CC8504-AC52-47D0-8457-C2BD8ED71908}"/>
          </ac:spMkLst>
        </pc:spChg>
        <pc:spChg chg="mod topLvl">
          <ac:chgData name="Amber Weise" userId="3ca30e27-9a99-4c36-a22b-2cf2c031f50a" providerId="ADAL" clId="{FF4D6404-2DCE-479D-B9A6-36980450AA1E}" dt="2019-10-08T13:36:13.809" v="382" actId="164"/>
          <ac:spMkLst>
            <pc:docMk/>
            <pc:sldMk cId="1756818721" sldId="262"/>
            <ac:spMk id="28" creationId="{CD6CDE31-12F3-4F47-B61D-B28F40612252}"/>
          </ac:spMkLst>
        </pc:spChg>
        <pc:grpChg chg="add mod">
          <ac:chgData name="Amber Weise" userId="3ca30e27-9a99-4c36-a22b-2cf2c031f50a" providerId="ADAL" clId="{FF4D6404-2DCE-479D-B9A6-36980450AA1E}" dt="2019-10-08T13:32:51.472" v="349" actId="164"/>
          <ac:grpSpMkLst>
            <pc:docMk/>
            <pc:sldMk cId="1756818721" sldId="262"/>
            <ac:grpSpMk id="14" creationId="{ACE3852F-68FA-415C-A67C-1B7ABD79C457}"/>
          </ac:grpSpMkLst>
        </pc:grpChg>
        <pc:grpChg chg="add del mod">
          <ac:chgData name="Amber Weise" userId="3ca30e27-9a99-4c36-a22b-2cf2c031f50a" providerId="ADAL" clId="{FF4D6404-2DCE-479D-B9A6-36980450AA1E}" dt="2019-10-08T13:34:28.525" v="366"/>
          <ac:grpSpMkLst>
            <pc:docMk/>
            <pc:sldMk cId="1756818721" sldId="262"/>
            <ac:grpSpMk id="15" creationId="{F498AC24-3FC7-43AC-8920-AB26B8479858}"/>
          </ac:grpSpMkLst>
        </pc:grpChg>
        <pc:grpChg chg="add del mod">
          <ac:chgData name="Amber Weise" userId="3ca30e27-9a99-4c36-a22b-2cf2c031f50a" providerId="ADAL" clId="{FF4D6404-2DCE-479D-B9A6-36980450AA1E}" dt="2019-10-08T13:34:28.525" v="366"/>
          <ac:grpSpMkLst>
            <pc:docMk/>
            <pc:sldMk cId="1756818721" sldId="262"/>
            <ac:grpSpMk id="19" creationId="{C5194DB3-3785-4685-9222-1A4BCA2351D9}"/>
          </ac:grpSpMkLst>
        </pc:grpChg>
        <pc:grpChg chg="add del mod">
          <ac:chgData name="Amber Weise" userId="3ca30e27-9a99-4c36-a22b-2cf2c031f50a" providerId="ADAL" clId="{FF4D6404-2DCE-479D-B9A6-36980450AA1E}" dt="2019-10-08T13:36:04.684" v="381" actId="165"/>
          <ac:grpSpMkLst>
            <pc:docMk/>
            <pc:sldMk cId="1756818721" sldId="262"/>
            <ac:grpSpMk id="25" creationId="{5657AEC9-B4D9-4DEC-B971-C41E077AAC90}"/>
          </ac:grpSpMkLst>
        </pc:grpChg>
        <pc:grpChg chg="add mod">
          <ac:chgData name="Amber Weise" userId="3ca30e27-9a99-4c36-a22b-2cf2c031f50a" providerId="ADAL" clId="{FF4D6404-2DCE-479D-B9A6-36980450AA1E}" dt="2019-10-08T13:35:48.196" v="379" actId="1076"/>
          <ac:grpSpMkLst>
            <pc:docMk/>
            <pc:sldMk cId="1756818721" sldId="262"/>
            <ac:grpSpMk id="29" creationId="{B0F74405-AAA7-4ADE-8E08-7AB1E3EEBED4}"/>
          </ac:grpSpMkLst>
        </pc:grpChg>
        <pc:grpChg chg="add mod">
          <ac:chgData name="Amber Weise" userId="3ca30e27-9a99-4c36-a22b-2cf2c031f50a" providerId="ADAL" clId="{FF4D6404-2DCE-479D-B9A6-36980450AA1E}" dt="2019-10-08T13:36:27.334" v="385" actId="164"/>
          <ac:grpSpMkLst>
            <pc:docMk/>
            <pc:sldMk cId="1756818721" sldId="262"/>
            <ac:grpSpMk id="32" creationId="{32DE5A1B-0D07-45F3-ACA2-BC11E1905F22}"/>
          </ac:grpSpMkLst>
        </pc:grpChg>
        <pc:grpChg chg="add mod">
          <ac:chgData name="Amber Weise" userId="3ca30e27-9a99-4c36-a22b-2cf2c031f50a" providerId="ADAL" clId="{FF4D6404-2DCE-479D-B9A6-36980450AA1E}" dt="2019-10-08T13:36:27.334" v="385" actId="164"/>
          <ac:grpSpMkLst>
            <pc:docMk/>
            <pc:sldMk cId="1756818721" sldId="262"/>
            <ac:grpSpMk id="33" creationId="{82230BE2-1817-44F8-8646-F27DD0434DEA}"/>
          </ac:grpSpMkLst>
        </pc:grpChg>
        <pc:grpChg chg="add mod">
          <ac:chgData name="Amber Weise" userId="3ca30e27-9a99-4c36-a22b-2cf2c031f50a" providerId="ADAL" clId="{FF4D6404-2DCE-479D-B9A6-36980450AA1E}" dt="2019-10-08T13:43:45.266" v="427" actId="1076"/>
          <ac:grpSpMkLst>
            <pc:docMk/>
            <pc:sldMk cId="1756818721" sldId="262"/>
            <ac:grpSpMk id="34" creationId="{074DB82C-381C-4BB4-81E4-C5C4E3F85DA2}"/>
          </ac:grpSpMkLst>
        </pc:grpChg>
        <pc:grpChg chg="add mod">
          <ac:chgData name="Amber Weise" userId="3ca30e27-9a99-4c36-a22b-2cf2c031f50a" providerId="ADAL" clId="{FF4D6404-2DCE-479D-B9A6-36980450AA1E}" dt="2019-10-08T13:41:45.086" v="420" actId="1076"/>
          <ac:grpSpMkLst>
            <pc:docMk/>
            <pc:sldMk cId="1756818721" sldId="262"/>
            <ac:grpSpMk id="37" creationId="{FDA832E5-F59A-4A42-B98D-BDD93B903413}"/>
          </ac:grpSpMkLst>
        </pc:grpChg>
        <pc:grpChg chg="add del mod">
          <ac:chgData name="Amber Weise" userId="3ca30e27-9a99-4c36-a22b-2cf2c031f50a" providerId="ADAL" clId="{FF4D6404-2DCE-479D-B9A6-36980450AA1E}" dt="2019-10-08T13:45:07.641" v="440"/>
          <ac:grpSpMkLst>
            <pc:docMk/>
            <pc:sldMk cId="1756818721" sldId="262"/>
            <ac:grpSpMk id="41" creationId="{3FC6BADC-57DD-4218-9C3F-1F9086906FC9}"/>
          </ac:grpSpMkLst>
        </pc:grpChg>
        <pc:grpChg chg="add mod">
          <ac:chgData name="Amber Weise" userId="3ca30e27-9a99-4c36-a22b-2cf2c031f50a" providerId="ADAL" clId="{FF4D6404-2DCE-479D-B9A6-36980450AA1E}" dt="2019-10-08T13:46:00.074" v="449" actId="1076"/>
          <ac:grpSpMkLst>
            <pc:docMk/>
            <pc:sldMk cId="1756818721" sldId="262"/>
            <ac:grpSpMk id="45" creationId="{6C8D7622-D813-4FE0-B462-5AB56AA84BD4}"/>
          </ac:grpSpMkLst>
        </pc:grpChg>
        <pc:grpChg chg="add mod">
          <ac:chgData name="Amber Weise" userId="3ca30e27-9a99-4c36-a22b-2cf2c031f50a" providerId="ADAL" clId="{FF4D6404-2DCE-479D-B9A6-36980450AA1E}" dt="2019-10-08T13:45:56.977" v="448" actId="1076"/>
          <ac:grpSpMkLst>
            <pc:docMk/>
            <pc:sldMk cId="1756818721" sldId="262"/>
            <ac:grpSpMk id="48" creationId="{196E79F1-9B2C-41EE-B4FF-E4553CDB0B7D}"/>
          </ac:grpSpMkLst>
        </pc:grpChg>
        <pc:grpChg chg="add mod">
          <ac:chgData name="Amber Weise" userId="3ca30e27-9a99-4c36-a22b-2cf2c031f50a" providerId="ADAL" clId="{FF4D6404-2DCE-479D-B9A6-36980450AA1E}" dt="2019-10-08T13:52:13.546" v="542" actId="1076"/>
          <ac:grpSpMkLst>
            <pc:docMk/>
            <pc:sldMk cId="1756818721" sldId="262"/>
            <ac:grpSpMk id="56" creationId="{56DC17B4-255D-490A-8C08-169A796ECBE5}"/>
          </ac:grpSpMkLst>
        </pc:grpChg>
        <pc:grpChg chg="add mod">
          <ac:chgData name="Amber Weise" userId="3ca30e27-9a99-4c36-a22b-2cf2c031f50a" providerId="ADAL" clId="{FF4D6404-2DCE-479D-B9A6-36980450AA1E}" dt="2019-10-08T13:52:15.064" v="543" actId="1076"/>
          <ac:grpSpMkLst>
            <pc:docMk/>
            <pc:sldMk cId="1756818721" sldId="262"/>
            <ac:grpSpMk id="57" creationId="{CD05946B-920F-4E37-AA2B-03E662C3750A}"/>
          </ac:grpSpMkLst>
        </pc:grpChg>
        <pc:picChg chg="add mod">
          <ac:chgData name="Amber Weise" userId="3ca30e27-9a99-4c36-a22b-2cf2c031f50a" providerId="ADAL" clId="{FF4D6404-2DCE-479D-B9A6-36980450AA1E}" dt="2019-10-08T13:34:52.041" v="369" actId="1076"/>
          <ac:picMkLst>
            <pc:docMk/>
            <pc:sldMk cId="1756818721" sldId="262"/>
            <ac:picMk id="12" creationId="{D8EAAC5F-9A95-4C29-94FB-53F980BC0EDC}"/>
          </ac:picMkLst>
        </pc:picChg>
        <pc:picChg chg="add mod">
          <ac:chgData name="Amber Weise" userId="3ca30e27-9a99-4c36-a22b-2cf2c031f50a" providerId="ADAL" clId="{FF4D6404-2DCE-479D-B9A6-36980450AA1E}" dt="2019-10-08T13:34:55.947" v="370" actId="1076"/>
          <ac:picMkLst>
            <pc:docMk/>
            <pc:sldMk cId="1756818721" sldId="262"/>
            <ac:picMk id="13" creationId="{81E838D6-C216-4E58-B850-5E422CFE5AC9}"/>
          </ac:picMkLst>
        </pc:picChg>
        <pc:picChg chg="mod topLvl">
          <ac:chgData name="Amber Weise" userId="3ca30e27-9a99-4c36-a22b-2cf2c031f50a" providerId="ADAL" clId="{FF4D6404-2DCE-479D-B9A6-36980450AA1E}" dt="2019-10-08T13:36:27.334" v="385" actId="164"/>
          <ac:picMkLst>
            <pc:docMk/>
            <pc:sldMk cId="1756818721" sldId="262"/>
            <ac:picMk id="26" creationId="{ECAB86C3-0717-4947-856F-C64331B7B042}"/>
          </ac:picMkLst>
        </pc:picChg>
        <pc:picChg chg="mod topLvl">
          <ac:chgData name="Amber Weise" userId="3ca30e27-9a99-4c36-a22b-2cf2c031f50a" providerId="ADAL" clId="{FF4D6404-2DCE-479D-B9A6-36980450AA1E}" dt="2019-10-08T13:36:13.809" v="382" actId="164"/>
          <ac:picMkLst>
            <pc:docMk/>
            <pc:sldMk cId="1756818721" sldId="262"/>
            <ac:picMk id="27" creationId="{6986DA69-BC07-4A8B-950E-C8167026BDC3}"/>
          </ac:picMkLst>
        </pc:picChg>
        <pc:picChg chg="add del mod">
          <ac:chgData name="Amber Weise" userId="3ca30e27-9a99-4c36-a22b-2cf2c031f50a" providerId="ADAL" clId="{FF4D6404-2DCE-479D-B9A6-36980450AA1E}" dt="2019-10-08T13:45:07.641" v="440"/>
          <ac:picMkLst>
            <pc:docMk/>
            <pc:sldMk cId="1756818721" sldId="262"/>
            <ac:picMk id="40" creationId="{33CAB2BF-3DCD-4C83-924F-102921155174}"/>
          </ac:picMkLst>
        </pc:picChg>
        <pc:picChg chg="add mod modCrop">
          <ac:chgData name="Amber Weise" userId="3ca30e27-9a99-4c36-a22b-2cf2c031f50a" providerId="ADAL" clId="{FF4D6404-2DCE-479D-B9A6-36980450AA1E}" dt="2019-10-08T14:02:53.349" v="768" actId="1076"/>
          <ac:picMkLst>
            <pc:docMk/>
            <pc:sldMk cId="1756818721" sldId="262"/>
            <ac:picMk id="52" creationId="{FEEAB739-E75B-430F-9DDF-8A1A0AE6F420}"/>
          </ac:picMkLst>
        </pc:picChg>
        <pc:picChg chg="add mod">
          <ac:chgData name="Amber Weise" userId="3ca30e27-9a99-4c36-a22b-2cf2c031f50a" providerId="ADAL" clId="{FF4D6404-2DCE-479D-B9A6-36980450AA1E}" dt="2019-10-08T13:52:27.293" v="547" actId="1076"/>
          <ac:picMkLst>
            <pc:docMk/>
            <pc:sldMk cId="1756818721" sldId="262"/>
            <ac:picMk id="53" creationId="{30A13FD1-4A3B-4AE1-A338-09DAB6579050}"/>
          </ac:picMkLst>
        </pc:picChg>
        <pc:picChg chg="add mod modCrop">
          <ac:chgData name="Amber Weise" userId="3ca30e27-9a99-4c36-a22b-2cf2c031f50a" providerId="ADAL" clId="{FF4D6404-2DCE-479D-B9A6-36980450AA1E}" dt="2019-10-08T13:51:18.712" v="527" actId="1076"/>
          <ac:picMkLst>
            <pc:docMk/>
            <pc:sldMk cId="1756818721" sldId="262"/>
            <ac:picMk id="54" creationId="{1C9E37EC-53B9-47A1-BC6D-5636FC54302D}"/>
          </ac:picMkLst>
        </pc:picChg>
        <pc:picChg chg="add mod">
          <ac:chgData name="Amber Weise" userId="3ca30e27-9a99-4c36-a22b-2cf2c031f50a" providerId="ADAL" clId="{FF4D6404-2DCE-479D-B9A6-36980450AA1E}" dt="2019-10-08T13:51:24.367" v="530" actId="1076"/>
          <ac:picMkLst>
            <pc:docMk/>
            <pc:sldMk cId="1756818721" sldId="262"/>
            <ac:picMk id="55" creationId="{08E02103-4763-4382-92A4-E3DE40F66C57}"/>
          </ac:picMkLst>
        </pc:picChg>
        <pc:picChg chg="add mod">
          <ac:chgData name="Amber Weise" userId="3ca30e27-9a99-4c36-a22b-2cf2c031f50a" providerId="ADAL" clId="{FF4D6404-2DCE-479D-B9A6-36980450AA1E}" dt="2019-10-08T14:03:04.252" v="769" actId="1076"/>
          <ac:picMkLst>
            <pc:docMk/>
            <pc:sldMk cId="1756818721" sldId="262"/>
            <ac:picMk id="59" creationId="{6113B617-E43C-4058-BD3F-26779BD1A94E}"/>
          </ac:picMkLst>
        </pc:picChg>
        <pc:picChg chg="add mod">
          <ac:chgData name="Amber Weise" userId="3ca30e27-9a99-4c36-a22b-2cf2c031f50a" providerId="ADAL" clId="{FF4D6404-2DCE-479D-B9A6-36980450AA1E}" dt="2019-10-08T13:55:43.379" v="593" actId="1076"/>
          <ac:picMkLst>
            <pc:docMk/>
            <pc:sldMk cId="1756818721" sldId="262"/>
            <ac:picMk id="60" creationId="{066C092A-0A8B-4190-AF79-2316B4DDC516}"/>
          </ac:picMkLst>
        </pc:picChg>
        <pc:picChg chg="add mod">
          <ac:chgData name="Amber Weise" userId="3ca30e27-9a99-4c36-a22b-2cf2c031f50a" providerId="ADAL" clId="{FF4D6404-2DCE-479D-B9A6-36980450AA1E}" dt="2019-10-08T13:55:40.911" v="592" actId="1076"/>
          <ac:picMkLst>
            <pc:docMk/>
            <pc:sldMk cId="1756818721" sldId="262"/>
            <ac:picMk id="61" creationId="{CDBFA3FC-62E6-470D-9383-2B36D7F4BFDB}"/>
          </ac:picMkLst>
        </pc:picChg>
        <pc:picChg chg="add mod">
          <ac:chgData name="Amber Weise" userId="3ca30e27-9a99-4c36-a22b-2cf2c031f50a" providerId="ADAL" clId="{FF4D6404-2DCE-479D-B9A6-36980450AA1E}" dt="2019-10-08T13:55:49.142" v="595" actId="1076"/>
          <ac:picMkLst>
            <pc:docMk/>
            <pc:sldMk cId="1756818721" sldId="262"/>
            <ac:picMk id="62" creationId="{8D371842-ADE6-4A52-9036-807F3048D596}"/>
          </ac:picMkLst>
        </pc:picChg>
        <pc:picChg chg="add mod">
          <ac:chgData name="Amber Weise" userId="3ca30e27-9a99-4c36-a22b-2cf2c031f50a" providerId="ADAL" clId="{FF4D6404-2DCE-479D-B9A6-36980450AA1E}" dt="2019-10-08T13:55:55.944" v="597" actId="1076"/>
          <ac:picMkLst>
            <pc:docMk/>
            <pc:sldMk cId="1756818721" sldId="262"/>
            <ac:picMk id="63" creationId="{D2A7C33D-46C4-4C9F-8235-4CC62EA29DE2}"/>
          </ac:picMkLst>
        </pc:picChg>
        <pc:cxnChg chg="add mod">
          <ac:chgData name="Amber Weise" userId="3ca30e27-9a99-4c36-a22b-2cf2c031f50a" providerId="ADAL" clId="{FF4D6404-2DCE-479D-B9A6-36980450AA1E}" dt="2019-10-08T13:35:29.200" v="377" actId="1076"/>
          <ac:cxnSpMkLst>
            <pc:docMk/>
            <pc:sldMk cId="1756818721" sldId="262"/>
            <ac:cxnSpMk id="23" creationId="{2C8CD108-3799-4905-AE06-6D9C06BFF53A}"/>
          </ac:cxnSpMkLst>
        </pc:cxnChg>
      </pc:sldChg>
      <pc:sldChg chg="addSp delSp del mod modShow">
        <pc:chgData name="Amber Weise" userId="3ca30e27-9a99-4c36-a22b-2cf2c031f50a" providerId="ADAL" clId="{FF4D6404-2DCE-479D-B9A6-36980450AA1E}" dt="2019-10-08T14:04:54.619" v="770" actId="47"/>
        <pc:sldMkLst>
          <pc:docMk/>
          <pc:sldMk cId="1488012650" sldId="263"/>
        </pc:sldMkLst>
        <pc:grpChg chg="add del">
          <ac:chgData name="Amber Weise" userId="3ca30e27-9a99-4c36-a22b-2cf2c031f50a" providerId="ADAL" clId="{FF4D6404-2DCE-479D-B9A6-36980450AA1E}" dt="2019-10-08T13:34:08.941" v="359"/>
          <ac:grpSpMkLst>
            <pc:docMk/>
            <pc:sldMk cId="1488012650" sldId="263"/>
            <ac:grpSpMk id="8" creationId="{A43FC4E5-DBC1-4C32-9472-5D21B39742FE}"/>
          </ac:grpSpMkLst>
        </pc:grpChg>
        <pc:grpChg chg="add del">
          <ac:chgData name="Amber Weise" userId="3ca30e27-9a99-4c36-a22b-2cf2c031f50a" providerId="ADAL" clId="{FF4D6404-2DCE-479D-B9A6-36980450AA1E}" dt="2019-10-08T13:34:08.941" v="359"/>
          <ac:grpSpMkLst>
            <pc:docMk/>
            <pc:sldMk cId="1488012650" sldId="263"/>
            <ac:grpSpMk id="12" creationId="{D82FA702-3C0D-42AA-A726-62B8AA6F3C24}"/>
          </ac:grpSpMkLst>
        </pc:grpChg>
      </pc:sldChg>
      <pc:sldChg chg="modSp">
        <pc:chgData name="Amber Weise" userId="3ca30e27-9a99-4c36-a22b-2cf2c031f50a" providerId="ADAL" clId="{FF4D6404-2DCE-479D-B9A6-36980450AA1E}" dt="2019-10-08T13:20:30.356" v="232" actId="20577"/>
        <pc:sldMkLst>
          <pc:docMk/>
          <pc:sldMk cId="2401080152" sldId="267"/>
        </pc:sldMkLst>
        <pc:spChg chg="mod">
          <ac:chgData name="Amber Weise" userId="3ca30e27-9a99-4c36-a22b-2cf2c031f50a" providerId="ADAL" clId="{FF4D6404-2DCE-479D-B9A6-36980450AA1E}" dt="2019-10-08T13:20:30.356" v="232" actId="20577"/>
          <ac:spMkLst>
            <pc:docMk/>
            <pc:sldMk cId="2401080152" sldId="267"/>
            <ac:spMk id="3" creationId="{397EFE3C-103F-468B-BBA2-1D8E61F543BB}"/>
          </ac:spMkLst>
        </pc:spChg>
      </pc:sldChg>
      <pc:sldChg chg="modSp">
        <pc:chgData name="Amber Weise" userId="3ca30e27-9a99-4c36-a22b-2cf2c031f50a" providerId="ADAL" clId="{FF4D6404-2DCE-479D-B9A6-36980450AA1E}" dt="2019-10-08T13:19:26.050" v="101" actId="20577"/>
        <pc:sldMkLst>
          <pc:docMk/>
          <pc:sldMk cId="2445481854" sldId="269"/>
        </pc:sldMkLst>
        <pc:spChg chg="mod">
          <ac:chgData name="Amber Weise" userId="3ca30e27-9a99-4c36-a22b-2cf2c031f50a" providerId="ADAL" clId="{FF4D6404-2DCE-479D-B9A6-36980450AA1E}" dt="2019-10-08T13:19:26.050" v="101" actId="20577"/>
          <ac:spMkLst>
            <pc:docMk/>
            <pc:sldMk cId="2445481854" sldId="269"/>
            <ac:spMk id="3" creationId="{397EFE3C-103F-468B-BBA2-1D8E61F543BB}"/>
          </ac:spMkLst>
        </pc:spChg>
      </pc:sldChg>
      <pc:sldChg chg="addSp modSp del mod modShow">
        <pc:chgData name="Amber Weise" userId="3ca30e27-9a99-4c36-a22b-2cf2c031f50a" providerId="ADAL" clId="{FF4D6404-2DCE-479D-B9A6-36980450AA1E}" dt="2019-10-08T14:04:55.575" v="771" actId="47"/>
        <pc:sldMkLst>
          <pc:docMk/>
          <pc:sldMk cId="371892285" sldId="272"/>
        </pc:sldMkLst>
        <pc:spChg chg="mod">
          <ac:chgData name="Amber Weise" userId="3ca30e27-9a99-4c36-a22b-2cf2c031f50a" providerId="ADAL" clId="{FF4D6404-2DCE-479D-B9A6-36980450AA1E}" dt="2019-10-08T13:33:58.162" v="356" actId="164"/>
          <ac:spMkLst>
            <pc:docMk/>
            <pc:sldMk cId="371892285" sldId="272"/>
            <ac:spMk id="10" creationId="{AA616F67-C0B4-408C-8DA5-128528620915}"/>
          </ac:spMkLst>
        </pc:spChg>
        <pc:spChg chg="mod">
          <ac:chgData name="Amber Weise" userId="3ca30e27-9a99-4c36-a22b-2cf2c031f50a" providerId="ADAL" clId="{FF4D6404-2DCE-479D-B9A6-36980450AA1E}" dt="2019-10-08T13:34:02.660" v="357" actId="164"/>
          <ac:spMkLst>
            <pc:docMk/>
            <pc:sldMk cId="371892285" sldId="272"/>
            <ac:spMk id="12" creationId="{079AB9EA-B99B-4426-90D1-BE2C56F8EEA3}"/>
          </ac:spMkLst>
        </pc:spChg>
        <pc:grpChg chg="add mod">
          <ac:chgData name="Amber Weise" userId="3ca30e27-9a99-4c36-a22b-2cf2c031f50a" providerId="ADAL" clId="{FF4D6404-2DCE-479D-B9A6-36980450AA1E}" dt="2019-10-08T13:33:58.162" v="356" actId="164"/>
          <ac:grpSpMkLst>
            <pc:docMk/>
            <pc:sldMk cId="371892285" sldId="272"/>
            <ac:grpSpMk id="5" creationId="{0134E589-A743-4085-9796-E0B6FF02B4C1}"/>
          </ac:grpSpMkLst>
        </pc:grpChg>
        <pc:grpChg chg="add mod">
          <ac:chgData name="Amber Weise" userId="3ca30e27-9a99-4c36-a22b-2cf2c031f50a" providerId="ADAL" clId="{FF4D6404-2DCE-479D-B9A6-36980450AA1E}" dt="2019-10-08T13:34:02.660" v="357" actId="164"/>
          <ac:grpSpMkLst>
            <pc:docMk/>
            <pc:sldMk cId="371892285" sldId="272"/>
            <ac:grpSpMk id="7" creationId="{C1E202E3-2BB1-4594-910F-4DF60AE8E3A0}"/>
          </ac:grpSpMkLst>
        </pc:grpChg>
        <pc:picChg chg="mod">
          <ac:chgData name="Amber Weise" userId="3ca30e27-9a99-4c36-a22b-2cf2c031f50a" providerId="ADAL" clId="{FF4D6404-2DCE-479D-B9A6-36980450AA1E}" dt="2019-10-08T13:33:58.162" v="356" actId="164"/>
          <ac:picMkLst>
            <pc:docMk/>
            <pc:sldMk cId="371892285" sldId="272"/>
            <ac:picMk id="8" creationId="{43BC1DBF-DE56-4578-B595-FE700FF4A2CF}"/>
          </ac:picMkLst>
        </pc:picChg>
        <pc:picChg chg="mod">
          <ac:chgData name="Amber Weise" userId="3ca30e27-9a99-4c36-a22b-2cf2c031f50a" providerId="ADAL" clId="{FF4D6404-2DCE-479D-B9A6-36980450AA1E}" dt="2019-10-08T13:33:58.162" v="356" actId="164"/>
          <ac:picMkLst>
            <pc:docMk/>
            <pc:sldMk cId="371892285" sldId="272"/>
            <ac:picMk id="9" creationId="{55139FDC-92F7-4D69-950F-B7EF962DA43A}"/>
          </ac:picMkLst>
        </pc:picChg>
        <pc:picChg chg="mod">
          <ac:chgData name="Amber Weise" userId="3ca30e27-9a99-4c36-a22b-2cf2c031f50a" providerId="ADAL" clId="{FF4D6404-2DCE-479D-B9A6-36980450AA1E}" dt="2019-10-08T13:34:02.660" v="357" actId="164"/>
          <ac:picMkLst>
            <pc:docMk/>
            <pc:sldMk cId="371892285" sldId="272"/>
            <ac:picMk id="11" creationId="{59675A01-14B8-47E9-AFC1-292E42EB7199}"/>
          </ac:picMkLst>
        </pc:picChg>
      </pc:sldChg>
      <pc:sldChg chg="addSp modSp del mod modShow">
        <pc:chgData name="Amber Weise" userId="3ca30e27-9a99-4c36-a22b-2cf2c031f50a" providerId="ADAL" clId="{FF4D6404-2DCE-479D-B9A6-36980450AA1E}" dt="2019-10-08T14:04:56.083" v="772" actId="47"/>
        <pc:sldMkLst>
          <pc:docMk/>
          <pc:sldMk cId="11417138" sldId="273"/>
        </pc:sldMkLst>
        <pc:spChg chg="mod">
          <ac:chgData name="Amber Weise" userId="3ca30e27-9a99-4c36-a22b-2cf2c031f50a" providerId="ADAL" clId="{FF4D6404-2DCE-479D-B9A6-36980450AA1E}" dt="2019-10-08T13:41:15.037" v="413" actId="164"/>
          <ac:spMkLst>
            <pc:docMk/>
            <pc:sldMk cId="11417138" sldId="273"/>
            <ac:spMk id="9" creationId="{C0505756-6461-4F49-827B-A33F4E906ADF}"/>
          </ac:spMkLst>
        </pc:spChg>
        <pc:spChg chg="mod">
          <ac:chgData name="Amber Weise" userId="3ca30e27-9a99-4c36-a22b-2cf2c031f50a" providerId="ADAL" clId="{FF4D6404-2DCE-479D-B9A6-36980450AA1E}" dt="2019-10-08T13:41:20.739" v="414" actId="164"/>
          <ac:spMkLst>
            <pc:docMk/>
            <pc:sldMk cId="11417138" sldId="273"/>
            <ac:spMk id="11" creationId="{9DDF880A-0891-4410-8D1D-E0E058301058}"/>
          </ac:spMkLst>
        </pc:spChg>
        <pc:grpChg chg="add mod">
          <ac:chgData name="Amber Weise" userId="3ca30e27-9a99-4c36-a22b-2cf2c031f50a" providerId="ADAL" clId="{FF4D6404-2DCE-479D-B9A6-36980450AA1E}" dt="2019-10-08T13:41:15.037" v="413" actId="164"/>
          <ac:grpSpMkLst>
            <pc:docMk/>
            <pc:sldMk cId="11417138" sldId="273"/>
            <ac:grpSpMk id="5" creationId="{A39812A9-8EBA-426B-AE12-C9E5BBDD8486}"/>
          </ac:grpSpMkLst>
        </pc:grpChg>
        <pc:grpChg chg="add mod">
          <ac:chgData name="Amber Weise" userId="3ca30e27-9a99-4c36-a22b-2cf2c031f50a" providerId="ADAL" clId="{FF4D6404-2DCE-479D-B9A6-36980450AA1E}" dt="2019-10-08T13:41:20.739" v="414" actId="164"/>
          <ac:grpSpMkLst>
            <pc:docMk/>
            <pc:sldMk cId="11417138" sldId="273"/>
            <ac:grpSpMk id="7" creationId="{42EF6E2C-A362-40F3-99B7-08D9FA7296D8}"/>
          </ac:grpSpMkLst>
        </pc:grpChg>
        <pc:picChg chg="mod">
          <ac:chgData name="Amber Weise" userId="3ca30e27-9a99-4c36-a22b-2cf2c031f50a" providerId="ADAL" clId="{FF4D6404-2DCE-479D-B9A6-36980450AA1E}" dt="2019-10-08T13:41:15.037" v="413" actId="164"/>
          <ac:picMkLst>
            <pc:docMk/>
            <pc:sldMk cId="11417138" sldId="273"/>
            <ac:picMk id="8" creationId="{381EE01B-A79E-44C9-9686-3A8FACE9FBFD}"/>
          </ac:picMkLst>
        </pc:picChg>
        <pc:picChg chg="mod">
          <ac:chgData name="Amber Weise" userId="3ca30e27-9a99-4c36-a22b-2cf2c031f50a" providerId="ADAL" clId="{FF4D6404-2DCE-479D-B9A6-36980450AA1E}" dt="2019-10-08T13:41:20.739" v="414" actId="164"/>
          <ac:picMkLst>
            <pc:docMk/>
            <pc:sldMk cId="11417138" sldId="273"/>
            <ac:picMk id="10" creationId="{21E3ED9B-189F-4641-A86C-2E7295634EAC}"/>
          </ac:picMkLst>
        </pc:picChg>
      </pc:sldChg>
      <pc:sldChg chg="addSp modSp del mod modShow">
        <pc:chgData name="Amber Weise" userId="3ca30e27-9a99-4c36-a22b-2cf2c031f50a" providerId="ADAL" clId="{FF4D6404-2DCE-479D-B9A6-36980450AA1E}" dt="2019-10-08T14:04:56.649" v="773" actId="47"/>
        <pc:sldMkLst>
          <pc:docMk/>
          <pc:sldMk cId="2963172966" sldId="274"/>
        </pc:sldMkLst>
        <pc:spChg chg="mod">
          <ac:chgData name="Amber Weise" userId="3ca30e27-9a99-4c36-a22b-2cf2c031f50a" providerId="ADAL" clId="{FF4D6404-2DCE-479D-B9A6-36980450AA1E}" dt="2019-10-08T13:45:37.376" v="442" actId="164"/>
          <ac:spMkLst>
            <pc:docMk/>
            <pc:sldMk cId="2963172966" sldId="274"/>
            <ac:spMk id="9" creationId="{C0505756-6461-4F49-827B-A33F4E906ADF}"/>
          </ac:spMkLst>
        </pc:spChg>
        <pc:spChg chg="mod">
          <ac:chgData name="Amber Weise" userId="3ca30e27-9a99-4c36-a22b-2cf2c031f50a" providerId="ADAL" clId="{FF4D6404-2DCE-479D-B9A6-36980450AA1E}" dt="2019-10-08T13:44:06.640" v="428" actId="164"/>
          <ac:spMkLst>
            <pc:docMk/>
            <pc:sldMk cId="2963172966" sldId="274"/>
            <ac:spMk id="11" creationId="{9DDF880A-0891-4410-8D1D-E0E058301058}"/>
          </ac:spMkLst>
        </pc:spChg>
        <pc:spChg chg="mod">
          <ac:chgData name="Amber Weise" userId="3ca30e27-9a99-4c36-a22b-2cf2c031f50a" providerId="ADAL" clId="{FF4D6404-2DCE-479D-B9A6-36980450AA1E}" dt="2019-10-08T13:44:06.640" v="428" actId="164"/>
          <ac:spMkLst>
            <pc:docMk/>
            <pc:sldMk cId="2963172966" sldId="274"/>
            <ac:spMk id="12" creationId="{558709B8-7DEB-43F2-80DE-19A7F99CAE2C}"/>
          </ac:spMkLst>
        </pc:spChg>
        <pc:grpChg chg="add mod">
          <ac:chgData name="Amber Weise" userId="3ca30e27-9a99-4c36-a22b-2cf2c031f50a" providerId="ADAL" clId="{FF4D6404-2DCE-479D-B9A6-36980450AA1E}" dt="2019-10-08T13:44:06.640" v="428" actId="164"/>
          <ac:grpSpMkLst>
            <pc:docMk/>
            <pc:sldMk cId="2963172966" sldId="274"/>
            <ac:grpSpMk id="8" creationId="{1C7BF573-0295-496B-A52B-47FEF8BBE58B}"/>
          </ac:grpSpMkLst>
        </pc:grpChg>
        <pc:grpChg chg="add mod">
          <ac:chgData name="Amber Weise" userId="3ca30e27-9a99-4c36-a22b-2cf2c031f50a" providerId="ADAL" clId="{FF4D6404-2DCE-479D-B9A6-36980450AA1E}" dt="2019-10-08T13:45:37.376" v="442" actId="164"/>
          <ac:grpSpMkLst>
            <pc:docMk/>
            <pc:sldMk cId="2963172966" sldId="274"/>
            <ac:grpSpMk id="10" creationId="{EF83CA18-79E4-451A-96AD-AB2B9FF0B16A}"/>
          </ac:grpSpMkLst>
        </pc:grpChg>
        <pc:picChg chg="mod">
          <ac:chgData name="Amber Weise" userId="3ca30e27-9a99-4c36-a22b-2cf2c031f50a" providerId="ADAL" clId="{FF4D6404-2DCE-479D-B9A6-36980450AA1E}" dt="2019-10-08T13:45:37.376" v="442" actId="164"/>
          <ac:picMkLst>
            <pc:docMk/>
            <pc:sldMk cId="2963172966" sldId="274"/>
            <ac:picMk id="5" creationId="{2FE04FBE-E5DE-44E6-84B9-B11EAE9EF30D}"/>
          </ac:picMkLst>
        </pc:picChg>
        <pc:picChg chg="mod">
          <ac:chgData name="Amber Weise" userId="3ca30e27-9a99-4c36-a22b-2cf2c031f50a" providerId="ADAL" clId="{FF4D6404-2DCE-479D-B9A6-36980450AA1E}" dt="2019-10-08T13:44:06.640" v="428" actId="164"/>
          <ac:picMkLst>
            <pc:docMk/>
            <pc:sldMk cId="2963172966" sldId="274"/>
            <ac:picMk id="7" creationId="{992BD829-4FBD-4A24-87AC-870FFB24C625}"/>
          </ac:picMkLst>
        </pc:picChg>
      </pc:sldChg>
      <pc:sldChg chg="delSp modSp del mod modAnim modShow">
        <pc:chgData name="Amber Weise" userId="3ca30e27-9a99-4c36-a22b-2cf2c031f50a" providerId="ADAL" clId="{FF4D6404-2DCE-479D-B9A6-36980450AA1E}" dt="2019-10-08T14:04:57.275" v="774" actId="47"/>
        <pc:sldMkLst>
          <pc:docMk/>
          <pc:sldMk cId="3984014018" sldId="275"/>
        </pc:sldMkLst>
        <pc:picChg chg="mod">
          <ac:chgData name="Amber Weise" userId="3ca30e27-9a99-4c36-a22b-2cf2c031f50a" providerId="ADAL" clId="{FF4D6404-2DCE-479D-B9A6-36980450AA1E}" dt="2019-10-08T13:50:19.895" v="524" actId="1076"/>
          <ac:picMkLst>
            <pc:docMk/>
            <pc:sldMk cId="3984014018" sldId="275"/>
            <ac:picMk id="9" creationId="{2D884CC0-9465-4C1C-A49B-83BC154BD6A4}"/>
          </ac:picMkLst>
        </pc:picChg>
        <pc:picChg chg="del mod">
          <ac:chgData name="Amber Weise" userId="3ca30e27-9a99-4c36-a22b-2cf2c031f50a" providerId="ADAL" clId="{FF4D6404-2DCE-479D-B9A6-36980450AA1E}" dt="2019-10-08T13:47:13.067" v="464" actId="478"/>
          <ac:picMkLst>
            <pc:docMk/>
            <pc:sldMk cId="3984014018" sldId="275"/>
            <ac:picMk id="10" creationId="{F9AF478F-617F-4582-9AC5-6B696AC22706}"/>
          </ac:picMkLst>
        </pc:picChg>
        <pc:picChg chg="mod">
          <ac:chgData name="Amber Weise" userId="3ca30e27-9a99-4c36-a22b-2cf2c031f50a" providerId="ADAL" clId="{FF4D6404-2DCE-479D-B9A6-36980450AA1E}" dt="2019-10-08T13:50:22.165" v="525" actId="1076"/>
          <ac:picMkLst>
            <pc:docMk/>
            <pc:sldMk cId="3984014018" sldId="275"/>
            <ac:picMk id="11" creationId="{2773E50D-E26E-45E8-B873-2491DA5C4ECE}"/>
          </ac:picMkLst>
        </pc:picChg>
      </pc:sldChg>
      <pc:sldChg chg="modSp del mod modAnim modShow">
        <pc:chgData name="Amber Weise" userId="3ca30e27-9a99-4c36-a22b-2cf2c031f50a" providerId="ADAL" clId="{FF4D6404-2DCE-479D-B9A6-36980450AA1E}" dt="2019-10-08T14:04:58.172" v="775" actId="47"/>
        <pc:sldMkLst>
          <pc:docMk/>
          <pc:sldMk cId="353930656" sldId="276"/>
        </pc:sldMkLst>
        <pc:picChg chg="mod">
          <ac:chgData name="Amber Weise" userId="3ca30e27-9a99-4c36-a22b-2cf2c031f50a" providerId="ADAL" clId="{FF4D6404-2DCE-479D-B9A6-36980450AA1E}" dt="2019-10-08T13:50:08.936" v="520" actId="1076"/>
          <ac:picMkLst>
            <pc:docMk/>
            <pc:sldMk cId="353930656" sldId="276"/>
            <ac:picMk id="8" creationId="{8ACCBE83-C05A-4724-98C4-CEC2859FF62D}"/>
          </ac:picMkLst>
        </pc:picChg>
        <pc:picChg chg="mod">
          <ac:chgData name="Amber Weise" userId="3ca30e27-9a99-4c36-a22b-2cf2c031f50a" providerId="ADAL" clId="{FF4D6404-2DCE-479D-B9A6-36980450AA1E}" dt="2019-10-08T13:50:06.582" v="519" actId="1076"/>
          <ac:picMkLst>
            <pc:docMk/>
            <pc:sldMk cId="353930656" sldId="276"/>
            <ac:picMk id="12" creationId="{44E2B686-233E-4587-AB07-70111A7649CF}"/>
          </ac:picMkLst>
        </pc:picChg>
      </pc:sldChg>
      <pc:sldChg chg="del">
        <pc:chgData name="Amber Weise" userId="3ca30e27-9a99-4c36-a22b-2cf2c031f50a" providerId="ADAL" clId="{FF4D6404-2DCE-479D-B9A6-36980450AA1E}" dt="2019-10-08T14:17:20.953" v="999" actId="47"/>
        <pc:sldMkLst>
          <pc:docMk/>
          <pc:sldMk cId="352838825" sldId="280"/>
        </pc:sldMkLst>
      </pc:sldChg>
      <pc:sldChg chg="addSp delSp modSp delCm modNotesTx">
        <pc:chgData name="Amber Weise" userId="3ca30e27-9a99-4c36-a22b-2cf2c031f50a" providerId="ADAL" clId="{FF4D6404-2DCE-479D-B9A6-36980450AA1E}" dt="2019-10-08T15:16:55.733" v="1548" actId="20577"/>
        <pc:sldMkLst>
          <pc:docMk/>
          <pc:sldMk cId="1072278647" sldId="283"/>
        </pc:sldMkLst>
        <pc:spChg chg="mod">
          <ac:chgData name="Amber Weise" userId="3ca30e27-9a99-4c36-a22b-2cf2c031f50a" providerId="ADAL" clId="{FF4D6404-2DCE-479D-B9A6-36980450AA1E}" dt="2019-10-08T15:14:48.141" v="1435" actId="20577"/>
          <ac:spMkLst>
            <pc:docMk/>
            <pc:sldMk cId="1072278647" sldId="283"/>
            <ac:spMk id="2" creationId="{99B1DD74-ECFF-4F6D-A99A-166E150EA5D9}"/>
          </ac:spMkLst>
        </pc:spChg>
        <pc:spChg chg="del mod">
          <ac:chgData name="Amber Weise" userId="3ca30e27-9a99-4c36-a22b-2cf2c031f50a" providerId="ADAL" clId="{FF4D6404-2DCE-479D-B9A6-36980450AA1E}" dt="2019-10-08T15:15:48.649" v="1444" actId="478"/>
          <ac:spMkLst>
            <pc:docMk/>
            <pc:sldMk cId="1072278647" sldId="283"/>
            <ac:spMk id="3" creationId="{397EFE3C-103F-468B-BBA2-1D8E61F543BB}"/>
          </ac:spMkLst>
        </pc:spChg>
        <pc:spChg chg="add mod">
          <ac:chgData name="Amber Weise" userId="3ca30e27-9a99-4c36-a22b-2cf2c031f50a" providerId="ADAL" clId="{FF4D6404-2DCE-479D-B9A6-36980450AA1E}" dt="2019-10-08T15:16:55.733" v="1548" actId="20577"/>
          <ac:spMkLst>
            <pc:docMk/>
            <pc:sldMk cId="1072278647" sldId="283"/>
            <ac:spMk id="4" creationId="{B0A38D12-B323-4927-B681-6F8F4DA1540F}"/>
          </ac:spMkLst>
        </pc:spChg>
        <pc:spChg chg="add mod">
          <ac:chgData name="Amber Weise" userId="3ca30e27-9a99-4c36-a22b-2cf2c031f50a" providerId="ADAL" clId="{FF4D6404-2DCE-479D-B9A6-36980450AA1E}" dt="2019-10-08T15:16:00.657" v="1447" actId="1076"/>
          <ac:spMkLst>
            <pc:docMk/>
            <pc:sldMk cId="1072278647" sldId="283"/>
            <ac:spMk id="7" creationId="{041D93CA-2902-45D4-B54C-95B67160C028}"/>
          </ac:spMkLst>
        </pc:spChg>
        <pc:spChg chg="add mod">
          <ac:chgData name="Amber Weise" userId="3ca30e27-9a99-4c36-a22b-2cf2c031f50a" providerId="ADAL" clId="{FF4D6404-2DCE-479D-B9A6-36980450AA1E}" dt="2019-10-08T15:15:54.877" v="1445" actId="1076"/>
          <ac:spMkLst>
            <pc:docMk/>
            <pc:sldMk cId="1072278647" sldId="283"/>
            <ac:spMk id="8" creationId="{B24C8254-240C-4362-BD47-9461D7B4D6AD}"/>
          </ac:spMkLst>
        </pc:spChg>
        <pc:picChg chg="mod">
          <ac:chgData name="Amber Weise" userId="3ca30e27-9a99-4c36-a22b-2cf2c031f50a" providerId="ADAL" clId="{FF4D6404-2DCE-479D-B9A6-36980450AA1E}" dt="2019-10-08T15:15:25.801" v="1441" actId="1076"/>
          <ac:picMkLst>
            <pc:docMk/>
            <pc:sldMk cId="1072278647" sldId="283"/>
            <ac:picMk id="5" creationId="{5EAC8F84-B153-4748-885D-12F0F419DB2B}"/>
          </ac:picMkLst>
        </pc:picChg>
        <pc:picChg chg="add mod">
          <ac:chgData name="Amber Weise" userId="3ca30e27-9a99-4c36-a22b-2cf2c031f50a" providerId="ADAL" clId="{FF4D6404-2DCE-479D-B9A6-36980450AA1E}" dt="2019-10-08T15:16:14.646" v="1451" actId="1076"/>
          <ac:picMkLst>
            <pc:docMk/>
            <pc:sldMk cId="1072278647" sldId="283"/>
            <ac:picMk id="6" creationId="{04093CA0-219C-4813-BA57-05C8444BD65F}"/>
          </ac:picMkLst>
        </pc:picChg>
      </pc:sldChg>
      <pc:sldChg chg="del">
        <pc:chgData name="Amber Weise" userId="3ca30e27-9a99-4c36-a22b-2cf2c031f50a" providerId="ADAL" clId="{FF4D6404-2DCE-479D-B9A6-36980450AA1E}" dt="2019-10-08T14:17:54.059" v="1001" actId="47"/>
        <pc:sldMkLst>
          <pc:docMk/>
          <pc:sldMk cId="3919758777" sldId="284"/>
        </pc:sldMkLst>
      </pc:sldChg>
      <pc:sldChg chg="addSp delSp modSp addCm delCm">
        <pc:chgData name="Amber Weise" userId="3ca30e27-9a99-4c36-a22b-2cf2c031f50a" providerId="ADAL" clId="{FF4D6404-2DCE-479D-B9A6-36980450AA1E}" dt="2019-10-08T15:19:47.607" v="1595" actId="1076"/>
        <pc:sldMkLst>
          <pc:docMk/>
          <pc:sldMk cId="822923803" sldId="285"/>
        </pc:sldMkLst>
        <pc:spChg chg="mod">
          <ac:chgData name="Amber Weise" userId="3ca30e27-9a99-4c36-a22b-2cf2c031f50a" providerId="ADAL" clId="{FF4D6404-2DCE-479D-B9A6-36980450AA1E}" dt="2019-10-08T15:17:45.262" v="1570" actId="20577"/>
          <ac:spMkLst>
            <pc:docMk/>
            <pc:sldMk cId="822923803" sldId="285"/>
            <ac:spMk id="2" creationId="{99B1DD74-ECFF-4F6D-A99A-166E150EA5D9}"/>
          </ac:spMkLst>
        </pc:spChg>
        <pc:spChg chg="del mod">
          <ac:chgData name="Amber Weise" userId="3ca30e27-9a99-4c36-a22b-2cf2c031f50a" providerId="ADAL" clId="{FF4D6404-2DCE-479D-B9A6-36980450AA1E}" dt="2019-10-08T15:19:28.521" v="1593" actId="478"/>
          <ac:spMkLst>
            <pc:docMk/>
            <pc:sldMk cId="822923803" sldId="285"/>
            <ac:spMk id="3" creationId="{397EFE3C-103F-468B-BBA2-1D8E61F543BB}"/>
          </ac:spMkLst>
        </pc:spChg>
        <pc:spChg chg="add del mod">
          <ac:chgData name="Amber Weise" userId="3ca30e27-9a99-4c36-a22b-2cf2c031f50a" providerId="ADAL" clId="{FF4D6404-2DCE-479D-B9A6-36980450AA1E}" dt="2019-10-08T15:18:16.915" v="1578"/>
          <ac:spMkLst>
            <pc:docMk/>
            <pc:sldMk cId="822923803" sldId="285"/>
            <ac:spMk id="4" creationId="{46E690C8-075A-46D1-98FA-FB10B6CD346A}"/>
          </ac:spMkLst>
        </pc:spChg>
        <pc:spChg chg="add mod">
          <ac:chgData name="Amber Weise" userId="3ca30e27-9a99-4c36-a22b-2cf2c031f50a" providerId="ADAL" clId="{FF4D6404-2DCE-479D-B9A6-36980450AA1E}" dt="2019-10-08T15:19:26.315" v="1592" actId="1076"/>
          <ac:spMkLst>
            <pc:docMk/>
            <pc:sldMk cId="822923803" sldId="285"/>
            <ac:spMk id="5" creationId="{76FCC0F9-74F4-43D8-BCD5-616D422E2A8D}"/>
          </ac:spMkLst>
        </pc:spChg>
        <pc:spChg chg="add mod">
          <ac:chgData name="Amber Weise" userId="3ca30e27-9a99-4c36-a22b-2cf2c031f50a" providerId="ADAL" clId="{FF4D6404-2DCE-479D-B9A6-36980450AA1E}" dt="2019-10-08T15:19:26.315" v="1592" actId="1076"/>
          <ac:spMkLst>
            <pc:docMk/>
            <pc:sldMk cId="822923803" sldId="285"/>
            <ac:spMk id="6" creationId="{661B623D-2626-46E2-BA12-3A341B287250}"/>
          </ac:spMkLst>
        </pc:spChg>
        <pc:spChg chg="add mod">
          <ac:chgData name="Amber Weise" userId="3ca30e27-9a99-4c36-a22b-2cf2c031f50a" providerId="ADAL" clId="{FF4D6404-2DCE-479D-B9A6-36980450AA1E}" dt="2019-10-08T15:19:47.607" v="1595" actId="1076"/>
          <ac:spMkLst>
            <pc:docMk/>
            <pc:sldMk cId="822923803" sldId="285"/>
            <ac:spMk id="8" creationId="{F7D8959B-CBC4-4519-81D9-0B3F3360B6E9}"/>
          </ac:spMkLst>
        </pc:spChg>
        <pc:spChg chg="add del mod">
          <ac:chgData name="Amber Weise" userId="3ca30e27-9a99-4c36-a22b-2cf2c031f50a" providerId="ADAL" clId="{FF4D6404-2DCE-479D-B9A6-36980450AA1E}" dt="2019-10-08T15:19:30.635" v="1594" actId="478"/>
          <ac:spMkLst>
            <pc:docMk/>
            <pc:sldMk cId="822923803" sldId="285"/>
            <ac:spMk id="10" creationId="{3018051F-A426-48F7-A4B3-4C883DD4FD1C}"/>
          </ac:spMkLst>
        </pc:spChg>
        <pc:picChg chg="add mod">
          <ac:chgData name="Amber Weise" userId="3ca30e27-9a99-4c36-a22b-2cf2c031f50a" providerId="ADAL" clId="{FF4D6404-2DCE-479D-B9A6-36980450AA1E}" dt="2019-10-08T15:19:20.701" v="1591" actId="1076"/>
          <ac:picMkLst>
            <pc:docMk/>
            <pc:sldMk cId="822923803" sldId="285"/>
            <ac:picMk id="7" creationId="{62EE1D89-EABD-40CF-971B-2CA6E3AA38AD}"/>
          </ac:picMkLst>
        </pc:picChg>
      </pc:sldChg>
      <pc:sldChg chg="modSp del">
        <pc:chgData name="Amber Weise" userId="3ca30e27-9a99-4c36-a22b-2cf2c031f50a" providerId="ADAL" clId="{FF4D6404-2DCE-479D-B9A6-36980450AA1E}" dt="2019-10-08T15:19:51.823" v="1596" actId="47"/>
        <pc:sldMkLst>
          <pc:docMk/>
          <pc:sldMk cId="315382077" sldId="286"/>
        </pc:sldMkLst>
        <pc:picChg chg="mod">
          <ac:chgData name="Amber Weise" userId="3ca30e27-9a99-4c36-a22b-2cf2c031f50a" providerId="ADAL" clId="{FF4D6404-2DCE-479D-B9A6-36980450AA1E}" dt="2019-10-08T13:22:10.873" v="267" actId="1076"/>
          <ac:picMkLst>
            <pc:docMk/>
            <pc:sldMk cId="315382077" sldId="286"/>
            <ac:picMk id="4" creationId="{ABCE18E8-0BA1-47C2-8F4C-48FFBBF84051}"/>
          </ac:picMkLst>
        </pc:picChg>
      </pc:sldChg>
      <pc:sldChg chg="del">
        <pc:chgData name="Amber Weise" userId="3ca30e27-9a99-4c36-a22b-2cf2c031f50a" providerId="ADAL" clId="{FF4D6404-2DCE-479D-B9A6-36980450AA1E}" dt="2019-10-08T13:17:30.916" v="89" actId="47"/>
        <pc:sldMkLst>
          <pc:docMk/>
          <pc:sldMk cId="3572296097" sldId="294"/>
        </pc:sldMkLst>
      </pc:sldChg>
      <pc:sldChg chg="del">
        <pc:chgData name="Amber Weise" userId="3ca30e27-9a99-4c36-a22b-2cf2c031f50a" providerId="ADAL" clId="{FF4D6404-2DCE-479D-B9A6-36980450AA1E}" dt="2019-10-08T13:17:36.014" v="90" actId="47"/>
        <pc:sldMkLst>
          <pc:docMk/>
          <pc:sldMk cId="815715108" sldId="296"/>
        </pc:sldMkLst>
      </pc:sldChg>
      <pc:sldChg chg="modSp">
        <pc:chgData name="Amber Weise" userId="3ca30e27-9a99-4c36-a22b-2cf2c031f50a" providerId="ADAL" clId="{FF4D6404-2DCE-479D-B9A6-36980450AA1E}" dt="2019-10-08T13:16:27.240" v="31" actId="1076"/>
        <pc:sldMkLst>
          <pc:docMk/>
          <pc:sldMk cId="1083707648" sldId="297"/>
        </pc:sldMkLst>
        <pc:spChg chg="mod">
          <ac:chgData name="Amber Weise" userId="3ca30e27-9a99-4c36-a22b-2cf2c031f50a" providerId="ADAL" clId="{FF4D6404-2DCE-479D-B9A6-36980450AA1E}" dt="2019-10-08T13:16:21.743" v="30" actId="14100"/>
          <ac:spMkLst>
            <pc:docMk/>
            <pc:sldMk cId="1083707648" sldId="297"/>
            <ac:spMk id="3" creationId="{397EFE3C-103F-468B-BBA2-1D8E61F543BB}"/>
          </ac:spMkLst>
        </pc:spChg>
        <pc:graphicFrameChg chg="mod modGraphic">
          <ac:chgData name="Amber Weise" userId="3ca30e27-9a99-4c36-a22b-2cf2c031f50a" providerId="ADAL" clId="{FF4D6404-2DCE-479D-B9A6-36980450AA1E}" dt="2019-10-08T13:16:27.240" v="31" actId="1076"/>
          <ac:graphicFrameMkLst>
            <pc:docMk/>
            <pc:sldMk cId="1083707648" sldId="297"/>
            <ac:graphicFrameMk id="6" creationId="{113F84CF-5A00-4CEB-AA51-F83919B6FDC5}"/>
          </ac:graphicFrameMkLst>
        </pc:graphicFrameChg>
      </pc:sldChg>
      <pc:sldChg chg="del">
        <pc:chgData name="Amber Weise" userId="3ca30e27-9a99-4c36-a22b-2cf2c031f50a" providerId="ADAL" clId="{FF4D6404-2DCE-479D-B9A6-36980450AA1E}" dt="2019-10-08T13:17:58.308" v="93" actId="47"/>
        <pc:sldMkLst>
          <pc:docMk/>
          <pc:sldMk cId="2683301064" sldId="298"/>
        </pc:sldMkLst>
      </pc:sldChg>
      <pc:sldChg chg="addSp delSp modSp modNotesTx">
        <pc:chgData name="Amber Weise" userId="3ca30e27-9a99-4c36-a22b-2cf2c031f50a" providerId="ADAL" clId="{FF4D6404-2DCE-479D-B9A6-36980450AA1E}" dt="2019-10-08T13:17:51.778" v="92" actId="20577"/>
        <pc:sldMkLst>
          <pc:docMk/>
          <pc:sldMk cId="3622939285" sldId="299"/>
        </pc:sldMkLst>
        <pc:spChg chg="mod">
          <ac:chgData name="Amber Weise" userId="3ca30e27-9a99-4c36-a22b-2cf2c031f50a" providerId="ADAL" clId="{FF4D6404-2DCE-479D-B9A6-36980450AA1E}" dt="2019-10-08T13:17:18.773" v="88" actId="20577"/>
          <ac:spMkLst>
            <pc:docMk/>
            <pc:sldMk cId="3622939285" sldId="299"/>
            <ac:spMk id="3" creationId="{397EFE3C-103F-468B-BBA2-1D8E61F543BB}"/>
          </ac:spMkLst>
        </pc:spChg>
        <pc:spChg chg="add del mod">
          <ac:chgData name="Amber Weise" userId="3ca30e27-9a99-4c36-a22b-2cf2c031f50a" providerId="ADAL" clId="{FF4D6404-2DCE-479D-B9A6-36980450AA1E}" dt="2019-10-08T13:16:53.158" v="35" actId="478"/>
          <ac:spMkLst>
            <pc:docMk/>
            <pc:sldMk cId="3622939285" sldId="299"/>
            <ac:spMk id="4" creationId="{BA5E7E71-0324-4F80-8F27-3E8B437222D6}"/>
          </ac:spMkLst>
        </pc:spChg>
      </pc:sldChg>
      <pc:sldChg chg="del">
        <pc:chgData name="Amber Weise" userId="3ca30e27-9a99-4c36-a22b-2cf2c031f50a" providerId="ADAL" clId="{FF4D6404-2DCE-479D-B9A6-36980450AA1E}" dt="2019-10-08T13:14:58.111" v="2" actId="47"/>
        <pc:sldMkLst>
          <pc:docMk/>
          <pc:sldMk cId="1691465768" sldId="300"/>
        </pc:sldMkLst>
      </pc:sldChg>
      <pc:sldChg chg="modSp">
        <pc:chgData name="Amber Weise" userId="3ca30e27-9a99-4c36-a22b-2cf2c031f50a" providerId="ADAL" clId="{FF4D6404-2DCE-479D-B9A6-36980450AA1E}" dt="2019-10-08T15:17:10.528" v="1551" actId="1076"/>
        <pc:sldMkLst>
          <pc:docMk/>
          <pc:sldMk cId="3362945663" sldId="308"/>
        </pc:sldMkLst>
        <pc:spChg chg="mod">
          <ac:chgData name="Amber Weise" userId="3ca30e27-9a99-4c36-a22b-2cf2c031f50a" providerId="ADAL" clId="{FF4D6404-2DCE-479D-B9A6-36980450AA1E}" dt="2019-10-08T15:17:10.528" v="1551" actId="1076"/>
          <ac:spMkLst>
            <pc:docMk/>
            <pc:sldMk cId="3362945663" sldId="308"/>
            <ac:spMk id="3" creationId="{397EFE3C-103F-468B-BBA2-1D8E61F543BB}"/>
          </ac:spMkLst>
        </pc:spChg>
        <pc:picChg chg="mod">
          <ac:chgData name="Amber Weise" userId="3ca30e27-9a99-4c36-a22b-2cf2c031f50a" providerId="ADAL" clId="{FF4D6404-2DCE-479D-B9A6-36980450AA1E}" dt="2019-10-08T15:17:06.977" v="1550" actId="1076"/>
          <ac:picMkLst>
            <pc:docMk/>
            <pc:sldMk cId="3362945663" sldId="308"/>
            <ac:picMk id="4" creationId="{D65988B2-9FE5-4734-94E5-1020066605E4}"/>
          </ac:picMkLst>
        </pc:picChg>
      </pc:sldChg>
      <pc:sldChg chg="del">
        <pc:chgData name="Amber Weise" userId="3ca30e27-9a99-4c36-a22b-2cf2c031f50a" providerId="ADAL" clId="{FF4D6404-2DCE-479D-B9A6-36980450AA1E}" dt="2019-10-08T15:11:12.462" v="1418" actId="47"/>
        <pc:sldMkLst>
          <pc:docMk/>
          <pc:sldMk cId="1350238404" sldId="309"/>
        </pc:sldMkLst>
      </pc:sldChg>
      <pc:sldChg chg="modSp">
        <pc:chgData name="Amber Weise" userId="3ca30e27-9a99-4c36-a22b-2cf2c031f50a" providerId="ADAL" clId="{FF4D6404-2DCE-479D-B9A6-36980450AA1E}" dt="2019-10-08T14:06:03.765" v="835" actId="20577"/>
        <pc:sldMkLst>
          <pc:docMk/>
          <pc:sldMk cId="499688128" sldId="310"/>
        </pc:sldMkLst>
        <pc:spChg chg="mod">
          <ac:chgData name="Amber Weise" userId="3ca30e27-9a99-4c36-a22b-2cf2c031f50a" providerId="ADAL" clId="{FF4D6404-2DCE-479D-B9A6-36980450AA1E}" dt="2019-10-08T14:06:03.765" v="835" actId="20577"/>
          <ac:spMkLst>
            <pc:docMk/>
            <pc:sldMk cId="499688128" sldId="310"/>
            <ac:spMk id="3" creationId="{397EFE3C-103F-468B-BBA2-1D8E61F543BB}"/>
          </ac:spMkLst>
        </pc:spChg>
      </pc:sldChg>
      <pc:sldChg chg="addSp delSp modSp">
        <pc:chgData name="Amber Weise" userId="3ca30e27-9a99-4c36-a22b-2cf2c031f50a" providerId="ADAL" clId="{FF4D6404-2DCE-479D-B9A6-36980450AA1E}" dt="2019-10-08T14:24:18.311" v="1129" actId="164"/>
        <pc:sldMkLst>
          <pc:docMk/>
          <pc:sldMk cId="3964919033" sldId="311"/>
        </pc:sldMkLst>
        <pc:spChg chg="mod">
          <ac:chgData name="Amber Weise" userId="3ca30e27-9a99-4c36-a22b-2cf2c031f50a" providerId="ADAL" clId="{FF4D6404-2DCE-479D-B9A6-36980450AA1E}" dt="2019-10-08T14:21:58.625" v="1093" actId="20577"/>
          <ac:spMkLst>
            <pc:docMk/>
            <pc:sldMk cId="3964919033" sldId="311"/>
            <ac:spMk id="3" creationId="{397EFE3C-103F-468B-BBA2-1D8E61F543BB}"/>
          </ac:spMkLst>
        </pc:spChg>
        <pc:spChg chg="add del mod">
          <ac:chgData name="Amber Weise" userId="3ca30e27-9a99-4c36-a22b-2cf2c031f50a" providerId="ADAL" clId="{FF4D6404-2DCE-479D-B9A6-36980450AA1E}" dt="2019-10-08T14:21:17.548" v="1060" actId="478"/>
          <ac:spMkLst>
            <pc:docMk/>
            <pc:sldMk cId="3964919033" sldId="311"/>
            <ac:spMk id="6" creationId="{66430FBC-825D-4A67-857C-3D5008199882}"/>
          </ac:spMkLst>
        </pc:spChg>
        <pc:spChg chg="add del mod">
          <ac:chgData name="Amber Weise" userId="3ca30e27-9a99-4c36-a22b-2cf2c031f50a" providerId="ADAL" clId="{FF4D6404-2DCE-479D-B9A6-36980450AA1E}" dt="2019-10-08T14:20:17.366" v="1037" actId="478"/>
          <ac:spMkLst>
            <pc:docMk/>
            <pc:sldMk cId="3964919033" sldId="311"/>
            <ac:spMk id="8" creationId="{A56FEC2A-8673-4B90-9D28-9933B27A50F2}"/>
          </ac:spMkLst>
        </pc:spChg>
        <pc:spChg chg="add mod">
          <ac:chgData name="Amber Weise" userId="3ca30e27-9a99-4c36-a22b-2cf2c031f50a" providerId="ADAL" clId="{FF4D6404-2DCE-479D-B9A6-36980450AA1E}" dt="2019-10-08T14:23:57.210" v="1124" actId="113"/>
          <ac:spMkLst>
            <pc:docMk/>
            <pc:sldMk cId="3964919033" sldId="311"/>
            <ac:spMk id="9" creationId="{7320F0E7-1504-4FA5-8A2A-AD76536D4590}"/>
          </ac:spMkLst>
        </pc:spChg>
        <pc:spChg chg="add del mod">
          <ac:chgData name="Amber Weise" userId="3ca30e27-9a99-4c36-a22b-2cf2c031f50a" providerId="ADAL" clId="{FF4D6404-2DCE-479D-B9A6-36980450AA1E}" dt="2019-10-08T14:22:02.159" v="1094" actId="478"/>
          <ac:spMkLst>
            <pc:docMk/>
            <pc:sldMk cId="3964919033" sldId="311"/>
            <ac:spMk id="10" creationId="{5B732E37-EBF9-4DC6-A628-E991984C8115}"/>
          </ac:spMkLst>
        </pc:spChg>
        <pc:spChg chg="add mod">
          <ac:chgData name="Amber Weise" userId="3ca30e27-9a99-4c36-a22b-2cf2c031f50a" providerId="ADAL" clId="{FF4D6404-2DCE-479D-B9A6-36980450AA1E}" dt="2019-10-08T14:24:05.687" v="1126" actId="113"/>
          <ac:spMkLst>
            <pc:docMk/>
            <pc:sldMk cId="3964919033" sldId="311"/>
            <ac:spMk id="12" creationId="{D6815E18-00E9-442D-9F7E-084E709653A3}"/>
          </ac:spMkLst>
        </pc:spChg>
        <pc:spChg chg="add mod">
          <ac:chgData name="Amber Weise" userId="3ca30e27-9a99-4c36-a22b-2cf2c031f50a" providerId="ADAL" clId="{FF4D6404-2DCE-479D-B9A6-36980450AA1E}" dt="2019-10-08T14:24:18.311" v="1129" actId="164"/>
          <ac:spMkLst>
            <pc:docMk/>
            <pc:sldMk cId="3964919033" sldId="311"/>
            <ac:spMk id="13" creationId="{B832AAB4-4DF3-4DAB-A9DD-73FEE1AEBB4F}"/>
          </ac:spMkLst>
        </pc:spChg>
        <pc:grpChg chg="add mod">
          <ac:chgData name="Amber Weise" userId="3ca30e27-9a99-4c36-a22b-2cf2c031f50a" providerId="ADAL" clId="{FF4D6404-2DCE-479D-B9A6-36980450AA1E}" dt="2019-10-08T14:24:18.311" v="1129" actId="164"/>
          <ac:grpSpMkLst>
            <pc:docMk/>
            <pc:sldMk cId="3964919033" sldId="311"/>
            <ac:grpSpMk id="16" creationId="{E03FFFDD-9C1A-4A92-8EC3-D942DD4BDA5E}"/>
          </ac:grpSpMkLst>
        </pc:grpChg>
        <pc:picChg chg="mod">
          <ac:chgData name="Amber Weise" userId="3ca30e27-9a99-4c36-a22b-2cf2c031f50a" providerId="ADAL" clId="{FF4D6404-2DCE-479D-B9A6-36980450AA1E}" dt="2019-10-08T14:24:18.311" v="1129" actId="164"/>
          <ac:picMkLst>
            <pc:docMk/>
            <pc:sldMk cId="3964919033" sldId="311"/>
            <ac:picMk id="4" creationId="{3D5BB7A2-3E97-4AAD-BD83-C6F6EF52FEEA}"/>
          </ac:picMkLst>
        </pc:picChg>
        <pc:picChg chg="mod">
          <ac:chgData name="Amber Weise" userId="3ca30e27-9a99-4c36-a22b-2cf2c031f50a" providerId="ADAL" clId="{FF4D6404-2DCE-479D-B9A6-36980450AA1E}" dt="2019-10-08T14:22:31.812" v="1111" actId="1076"/>
          <ac:picMkLst>
            <pc:docMk/>
            <pc:sldMk cId="3964919033" sldId="311"/>
            <ac:picMk id="5" creationId="{3C8427D4-14F6-4175-97F3-A77DD36AD6F6}"/>
          </ac:picMkLst>
        </pc:picChg>
        <pc:picChg chg="add mod">
          <ac:chgData name="Amber Weise" userId="3ca30e27-9a99-4c36-a22b-2cf2c031f50a" providerId="ADAL" clId="{FF4D6404-2DCE-479D-B9A6-36980450AA1E}" dt="2019-10-08T14:23:27.922" v="1120" actId="1076"/>
          <ac:picMkLst>
            <pc:docMk/>
            <pc:sldMk cId="3964919033" sldId="311"/>
            <ac:picMk id="14" creationId="{3613316C-79E8-4866-BEAC-625444390059}"/>
          </ac:picMkLst>
        </pc:picChg>
        <pc:picChg chg="add mod">
          <ac:chgData name="Amber Weise" userId="3ca30e27-9a99-4c36-a22b-2cf2c031f50a" providerId="ADAL" clId="{FF4D6404-2DCE-479D-B9A6-36980450AA1E}" dt="2019-10-08T14:23:32.968" v="1121" actId="1076"/>
          <ac:picMkLst>
            <pc:docMk/>
            <pc:sldMk cId="3964919033" sldId="311"/>
            <ac:picMk id="15" creationId="{F7A71462-C18B-4492-93DC-6CE1C9EC39DB}"/>
          </ac:picMkLst>
        </pc:picChg>
        <pc:cxnChg chg="add mod">
          <ac:chgData name="Amber Weise" userId="3ca30e27-9a99-4c36-a22b-2cf2c031f50a" providerId="ADAL" clId="{FF4D6404-2DCE-479D-B9A6-36980450AA1E}" dt="2019-10-08T14:22:08.043" v="1095" actId="14100"/>
          <ac:cxnSpMkLst>
            <pc:docMk/>
            <pc:sldMk cId="3964919033" sldId="311"/>
            <ac:cxnSpMk id="7" creationId="{EFD641A4-52B0-44E6-B8FE-B844E081A283}"/>
          </ac:cxnSpMkLst>
        </pc:cxnChg>
      </pc:sldChg>
      <pc:sldChg chg="del">
        <pc:chgData name="Amber Weise" userId="3ca30e27-9a99-4c36-a22b-2cf2c031f50a" providerId="ADAL" clId="{FF4D6404-2DCE-479D-B9A6-36980450AA1E}" dt="2019-10-08T14:24:33.895" v="1130" actId="47"/>
        <pc:sldMkLst>
          <pc:docMk/>
          <pc:sldMk cId="2667800838" sldId="312"/>
        </pc:sldMkLst>
      </pc:sldChg>
      <pc:sldChg chg="del">
        <pc:chgData name="Amber Weise" userId="3ca30e27-9a99-4c36-a22b-2cf2c031f50a" providerId="ADAL" clId="{FF4D6404-2DCE-479D-B9A6-36980450AA1E}" dt="2019-10-08T13:18:54.842" v="94" actId="47"/>
        <pc:sldMkLst>
          <pc:docMk/>
          <pc:sldMk cId="1615278368" sldId="313"/>
        </pc:sldMkLst>
      </pc:sldChg>
      <pc:sldChg chg="modSp mod modShow">
        <pc:chgData name="Amber Weise" userId="3ca30e27-9a99-4c36-a22b-2cf2c031f50a" providerId="ADAL" clId="{FF4D6404-2DCE-479D-B9A6-36980450AA1E}" dt="2019-10-08T14:17:29.936" v="1000" actId="729"/>
        <pc:sldMkLst>
          <pc:docMk/>
          <pc:sldMk cId="3469446945" sldId="314"/>
        </pc:sldMkLst>
        <pc:spChg chg="mod">
          <ac:chgData name="Amber Weise" userId="3ca30e27-9a99-4c36-a22b-2cf2c031f50a" providerId="ADAL" clId="{FF4D6404-2DCE-479D-B9A6-36980450AA1E}" dt="2019-10-08T13:21:00.350" v="250" actId="20577"/>
          <ac:spMkLst>
            <pc:docMk/>
            <pc:sldMk cId="3469446945" sldId="314"/>
            <ac:spMk id="3" creationId="{397EFE3C-103F-468B-BBA2-1D8E61F543BB}"/>
          </ac:spMkLst>
        </pc:spChg>
      </pc:sldChg>
      <pc:sldChg chg="addSp delSp modSp delAnim modAnim">
        <pc:chgData name="Amber Weise" userId="3ca30e27-9a99-4c36-a22b-2cf2c031f50a" providerId="ADAL" clId="{FF4D6404-2DCE-479D-B9A6-36980450AA1E}" dt="2019-10-08T14:28:55.024" v="1267" actId="1076"/>
        <pc:sldMkLst>
          <pc:docMk/>
          <pc:sldMk cId="3638440985" sldId="315"/>
        </pc:sldMkLst>
        <pc:spChg chg="mod">
          <ac:chgData name="Amber Weise" userId="3ca30e27-9a99-4c36-a22b-2cf2c031f50a" providerId="ADAL" clId="{FF4D6404-2DCE-479D-B9A6-36980450AA1E}" dt="2019-10-08T14:26:20.937" v="1227" actId="20577"/>
          <ac:spMkLst>
            <pc:docMk/>
            <pc:sldMk cId="3638440985" sldId="315"/>
            <ac:spMk id="3" creationId="{397EFE3C-103F-468B-BBA2-1D8E61F543BB}"/>
          </ac:spMkLst>
        </pc:spChg>
        <pc:spChg chg="add del mod topLvl">
          <ac:chgData name="Amber Weise" userId="3ca30e27-9a99-4c36-a22b-2cf2c031f50a" providerId="ADAL" clId="{FF4D6404-2DCE-479D-B9A6-36980450AA1E}" dt="2019-10-08T14:27:25.246" v="1243" actId="478"/>
          <ac:spMkLst>
            <pc:docMk/>
            <pc:sldMk cId="3638440985" sldId="315"/>
            <ac:spMk id="6" creationId="{66430FBC-825D-4A67-857C-3D5008199882}"/>
          </ac:spMkLst>
        </pc:spChg>
        <pc:spChg chg="del topLvl">
          <ac:chgData name="Amber Weise" userId="3ca30e27-9a99-4c36-a22b-2cf2c031f50a" providerId="ADAL" clId="{FF4D6404-2DCE-479D-B9A6-36980450AA1E}" dt="2019-10-08T14:26:27.670" v="1228" actId="478"/>
          <ac:spMkLst>
            <pc:docMk/>
            <pc:sldMk cId="3638440985" sldId="315"/>
            <ac:spMk id="11" creationId="{54A112C2-889B-4D0E-B03E-9729562BF443}"/>
          </ac:spMkLst>
        </pc:spChg>
        <pc:spChg chg="del topLvl">
          <ac:chgData name="Amber Weise" userId="3ca30e27-9a99-4c36-a22b-2cf2c031f50a" providerId="ADAL" clId="{FF4D6404-2DCE-479D-B9A6-36980450AA1E}" dt="2019-10-08T14:26:54.268" v="1236" actId="478"/>
          <ac:spMkLst>
            <pc:docMk/>
            <pc:sldMk cId="3638440985" sldId="315"/>
            <ac:spMk id="13" creationId="{862DDB6C-7FB7-4EE9-8503-42167E2E5D70}"/>
          </ac:spMkLst>
        </pc:spChg>
        <pc:spChg chg="add">
          <ac:chgData name="Amber Weise" userId="3ca30e27-9a99-4c36-a22b-2cf2c031f50a" providerId="ADAL" clId="{FF4D6404-2DCE-479D-B9A6-36980450AA1E}" dt="2019-10-08T14:26:36.121" v="1230"/>
          <ac:spMkLst>
            <pc:docMk/>
            <pc:sldMk cId="3638440985" sldId="315"/>
            <ac:spMk id="16" creationId="{D75E0AF4-A009-4906-9FF8-67000EFFE5B6}"/>
          </ac:spMkLst>
        </pc:spChg>
        <pc:spChg chg="add">
          <ac:chgData name="Amber Weise" userId="3ca30e27-9a99-4c36-a22b-2cf2c031f50a" providerId="ADAL" clId="{FF4D6404-2DCE-479D-B9A6-36980450AA1E}" dt="2019-10-08T14:26:36.121" v="1230"/>
          <ac:spMkLst>
            <pc:docMk/>
            <pc:sldMk cId="3638440985" sldId="315"/>
            <ac:spMk id="17" creationId="{BFDC7AA0-84E6-445F-9A4C-F2EE2F9B2759}"/>
          </ac:spMkLst>
        </pc:spChg>
        <pc:grpChg chg="del mod">
          <ac:chgData name="Amber Weise" userId="3ca30e27-9a99-4c36-a22b-2cf2c031f50a" providerId="ADAL" clId="{FF4D6404-2DCE-479D-B9A6-36980450AA1E}" dt="2019-10-08T14:27:19.096" v="1240" actId="165"/>
          <ac:grpSpMkLst>
            <pc:docMk/>
            <pc:sldMk cId="3638440985" sldId="315"/>
            <ac:grpSpMk id="10" creationId="{8FCA5E00-A3FE-46C4-B2E1-A86A89EBCD04}"/>
          </ac:grpSpMkLst>
        </pc:grpChg>
        <pc:grpChg chg="del">
          <ac:chgData name="Amber Weise" userId="3ca30e27-9a99-4c36-a22b-2cf2c031f50a" providerId="ADAL" clId="{FF4D6404-2DCE-479D-B9A6-36980450AA1E}" dt="2019-10-08T14:26:27.670" v="1228" actId="478"/>
          <ac:grpSpMkLst>
            <pc:docMk/>
            <pc:sldMk cId="3638440985" sldId="315"/>
            <ac:grpSpMk id="12" creationId="{F15DADE4-C1FC-41CF-B9CC-407A5DB33457}"/>
          </ac:grpSpMkLst>
        </pc:grpChg>
        <pc:grpChg chg="del mod">
          <ac:chgData name="Amber Weise" userId="3ca30e27-9a99-4c36-a22b-2cf2c031f50a" providerId="ADAL" clId="{FF4D6404-2DCE-479D-B9A6-36980450AA1E}" dt="2019-10-08T14:26:54.268" v="1236" actId="478"/>
          <ac:grpSpMkLst>
            <pc:docMk/>
            <pc:sldMk cId="3638440985" sldId="315"/>
            <ac:grpSpMk id="14" creationId="{ADBF2C23-F99B-4CC6-AF74-903522FE77D7}"/>
          </ac:grpSpMkLst>
        </pc:grpChg>
        <pc:grpChg chg="add mod">
          <ac:chgData name="Amber Weise" userId="3ca30e27-9a99-4c36-a22b-2cf2c031f50a" providerId="ADAL" clId="{FF4D6404-2DCE-479D-B9A6-36980450AA1E}" dt="2019-10-08T14:28:42.336" v="1262" actId="1076"/>
          <ac:grpSpMkLst>
            <pc:docMk/>
            <pc:sldMk cId="3638440985" sldId="315"/>
            <ac:grpSpMk id="18" creationId="{9EEB00AB-0BA3-47AE-AEB2-43815CAFE513}"/>
          </ac:grpSpMkLst>
        </pc:grpChg>
        <pc:grpChg chg="add mod">
          <ac:chgData name="Amber Weise" userId="3ca30e27-9a99-4c36-a22b-2cf2c031f50a" providerId="ADAL" clId="{FF4D6404-2DCE-479D-B9A6-36980450AA1E}" dt="2019-10-08T14:28:48.629" v="1265" actId="1076"/>
          <ac:grpSpMkLst>
            <pc:docMk/>
            <pc:sldMk cId="3638440985" sldId="315"/>
            <ac:grpSpMk id="21" creationId="{EBD01483-F80F-475A-8F2C-04059E012180}"/>
          </ac:grpSpMkLst>
        </pc:grpChg>
        <pc:picChg chg="mod topLvl">
          <ac:chgData name="Amber Weise" userId="3ca30e27-9a99-4c36-a22b-2cf2c031f50a" providerId="ADAL" clId="{FF4D6404-2DCE-479D-B9A6-36980450AA1E}" dt="2019-10-08T14:27:42.314" v="1250" actId="1076"/>
          <ac:picMkLst>
            <pc:docMk/>
            <pc:sldMk cId="3638440985" sldId="315"/>
            <ac:picMk id="7" creationId="{80AB2DD3-1411-4288-B493-C57D01FCCCB9}"/>
          </ac:picMkLst>
        </pc:picChg>
        <pc:picChg chg="mod topLvl">
          <ac:chgData name="Amber Weise" userId="3ca30e27-9a99-4c36-a22b-2cf2c031f50a" providerId="ADAL" clId="{FF4D6404-2DCE-479D-B9A6-36980450AA1E}" dt="2019-10-08T14:27:36.773" v="1248" actId="1076"/>
          <ac:picMkLst>
            <pc:docMk/>
            <pc:sldMk cId="3638440985" sldId="315"/>
            <ac:picMk id="8" creationId="{19EE39B5-6008-423A-A516-28B7C373E49E}"/>
          </ac:picMkLst>
        </pc:picChg>
        <pc:picChg chg="add del mod topLvl">
          <ac:chgData name="Amber Weise" userId="3ca30e27-9a99-4c36-a22b-2cf2c031f50a" providerId="ADAL" clId="{FF4D6404-2DCE-479D-B9A6-36980450AA1E}" dt="2019-10-08T14:27:40.490" v="1249" actId="1076"/>
          <ac:picMkLst>
            <pc:docMk/>
            <pc:sldMk cId="3638440985" sldId="315"/>
            <ac:picMk id="9" creationId="{C9797BB1-2DA4-4CB6-A316-F2CA5E77344B}"/>
          </ac:picMkLst>
        </pc:picChg>
        <pc:picChg chg="add mod">
          <ac:chgData name="Amber Weise" userId="3ca30e27-9a99-4c36-a22b-2cf2c031f50a" providerId="ADAL" clId="{FF4D6404-2DCE-479D-B9A6-36980450AA1E}" dt="2019-10-08T14:28:55.024" v="1267" actId="1076"/>
          <ac:picMkLst>
            <pc:docMk/>
            <pc:sldMk cId="3638440985" sldId="315"/>
            <ac:picMk id="24" creationId="{AD258319-A648-404A-AB68-D173BF0F0790}"/>
          </ac:picMkLst>
        </pc:picChg>
        <pc:cxnChg chg="add">
          <ac:chgData name="Amber Weise" userId="3ca30e27-9a99-4c36-a22b-2cf2c031f50a" providerId="ADAL" clId="{FF4D6404-2DCE-479D-B9A6-36980450AA1E}" dt="2019-10-08T14:26:36.121" v="1230"/>
          <ac:cxnSpMkLst>
            <pc:docMk/>
            <pc:sldMk cId="3638440985" sldId="315"/>
            <ac:cxnSpMk id="15" creationId="{E2E0EA40-32AF-488A-B81B-C517DCD5A471}"/>
          </ac:cxnSpMkLst>
        </pc:cxnChg>
      </pc:sldChg>
      <pc:sldChg chg="del">
        <pc:chgData name="Amber Weise" userId="3ca30e27-9a99-4c36-a22b-2cf2c031f50a" providerId="ADAL" clId="{FF4D6404-2DCE-479D-B9A6-36980450AA1E}" dt="2019-10-08T14:05:41.291" v="823" actId="47"/>
        <pc:sldMkLst>
          <pc:docMk/>
          <pc:sldMk cId="2446632174" sldId="316"/>
        </pc:sldMkLst>
      </pc:sldChg>
      <pc:sldChg chg="addSp delSp modSp delAnim modAnim">
        <pc:chgData name="Amber Weise" userId="3ca30e27-9a99-4c36-a22b-2cf2c031f50a" providerId="ADAL" clId="{FF4D6404-2DCE-479D-B9A6-36980450AA1E}" dt="2019-10-08T14:16:55.051" v="996" actId="1076"/>
        <pc:sldMkLst>
          <pc:docMk/>
          <pc:sldMk cId="1570356046" sldId="317"/>
        </pc:sldMkLst>
        <pc:spChg chg="mod">
          <ac:chgData name="Amber Weise" userId="3ca30e27-9a99-4c36-a22b-2cf2c031f50a" providerId="ADAL" clId="{FF4D6404-2DCE-479D-B9A6-36980450AA1E}" dt="2019-10-08T14:08:40.980" v="861" actId="403"/>
          <ac:spMkLst>
            <pc:docMk/>
            <pc:sldMk cId="1570356046" sldId="317"/>
            <ac:spMk id="3" creationId="{397EFE3C-103F-468B-BBA2-1D8E61F543BB}"/>
          </ac:spMkLst>
        </pc:spChg>
        <pc:spChg chg="mod">
          <ac:chgData name="Amber Weise" userId="3ca30e27-9a99-4c36-a22b-2cf2c031f50a" providerId="ADAL" clId="{FF4D6404-2DCE-479D-B9A6-36980450AA1E}" dt="2019-10-08T14:16:38.640" v="991" actId="1076"/>
          <ac:spMkLst>
            <pc:docMk/>
            <pc:sldMk cId="1570356046" sldId="317"/>
            <ac:spMk id="6" creationId="{27A21370-3126-47E3-A154-E70398B1EF5E}"/>
          </ac:spMkLst>
        </pc:spChg>
        <pc:spChg chg="mod">
          <ac:chgData name="Amber Weise" userId="3ca30e27-9a99-4c36-a22b-2cf2c031f50a" providerId="ADAL" clId="{FF4D6404-2DCE-479D-B9A6-36980450AA1E}" dt="2019-10-08T14:16:55.051" v="996" actId="1076"/>
          <ac:spMkLst>
            <pc:docMk/>
            <pc:sldMk cId="1570356046" sldId="317"/>
            <ac:spMk id="7" creationId="{C8DB0816-6DDD-4E83-8565-DB32154E6DCE}"/>
          </ac:spMkLst>
        </pc:spChg>
        <pc:spChg chg="add mod">
          <ac:chgData name="Amber Weise" userId="3ca30e27-9a99-4c36-a22b-2cf2c031f50a" providerId="ADAL" clId="{FF4D6404-2DCE-479D-B9A6-36980450AA1E}" dt="2019-10-08T14:16:42.106" v="992" actId="1076"/>
          <ac:spMkLst>
            <pc:docMk/>
            <pc:sldMk cId="1570356046" sldId="317"/>
            <ac:spMk id="14" creationId="{651789E5-064E-4BFD-B357-1A3E22680981}"/>
          </ac:spMkLst>
        </pc:spChg>
        <pc:spChg chg="add mod">
          <ac:chgData name="Amber Weise" userId="3ca30e27-9a99-4c36-a22b-2cf2c031f50a" providerId="ADAL" clId="{FF4D6404-2DCE-479D-B9A6-36980450AA1E}" dt="2019-10-08T14:16:46.973" v="993" actId="1076"/>
          <ac:spMkLst>
            <pc:docMk/>
            <pc:sldMk cId="1570356046" sldId="317"/>
            <ac:spMk id="15" creationId="{9ECB0A85-CF3F-4F41-91AE-3DB9643CBFF8}"/>
          </ac:spMkLst>
        </pc:spChg>
        <pc:spChg chg="mod">
          <ac:chgData name="Amber Weise" userId="3ca30e27-9a99-4c36-a22b-2cf2c031f50a" providerId="ADAL" clId="{FF4D6404-2DCE-479D-B9A6-36980450AA1E}" dt="2019-10-08T14:12:32.066" v="938" actId="14100"/>
          <ac:spMkLst>
            <pc:docMk/>
            <pc:sldMk cId="1570356046" sldId="317"/>
            <ac:spMk id="19" creationId="{40850E71-0AED-4080-89C7-13B06F91E4E3}"/>
          </ac:spMkLst>
        </pc:spChg>
        <pc:spChg chg="mod">
          <ac:chgData name="Amber Weise" userId="3ca30e27-9a99-4c36-a22b-2cf2c031f50a" providerId="ADAL" clId="{FF4D6404-2DCE-479D-B9A6-36980450AA1E}" dt="2019-10-08T14:13:45.497" v="954" actId="1076"/>
          <ac:spMkLst>
            <pc:docMk/>
            <pc:sldMk cId="1570356046" sldId="317"/>
            <ac:spMk id="21" creationId="{A51CC0EE-0652-496C-8BD8-8AE7CF40C4C8}"/>
          </ac:spMkLst>
        </pc:spChg>
        <pc:spChg chg="mod">
          <ac:chgData name="Amber Weise" userId="3ca30e27-9a99-4c36-a22b-2cf2c031f50a" providerId="ADAL" clId="{FF4D6404-2DCE-479D-B9A6-36980450AA1E}" dt="2019-10-08T14:13:23.505" v="950" actId="14100"/>
          <ac:spMkLst>
            <pc:docMk/>
            <pc:sldMk cId="1570356046" sldId="317"/>
            <ac:spMk id="23" creationId="{14F48F4E-944C-4A31-A61C-7B44A01FFBFD}"/>
          </ac:spMkLst>
        </pc:spChg>
        <pc:spChg chg="mod">
          <ac:chgData name="Amber Weise" userId="3ca30e27-9a99-4c36-a22b-2cf2c031f50a" providerId="ADAL" clId="{FF4D6404-2DCE-479D-B9A6-36980450AA1E}" dt="2019-10-08T14:13:41.936" v="953" actId="1076"/>
          <ac:spMkLst>
            <pc:docMk/>
            <pc:sldMk cId="1570356046" sldId="317"/>
            <ac:spMk id="25" creationId="{A9004AD1-ED52-452D-BDFB-40823E1A1453}"/>
          </ac:spMkLst>
        </pc:spChg>
        <pc:spChg chg="del topLvl">
          <ac:chgData name="Amber Weise" userId="3ca30e27-9a99-4c36-a22b-2cf2c031f50a" providerId="ADAL" clId="{FF4D6404-2DCE-479D-B9A6-36980450AA1E}" dt="2019-10-08T14:15:55.525" v="983" actId="478"/>
          <ac:spMkLst>
            <pc:docMk/>
            <pc:sldMk cId="1570356046" sldId="317"/>
            <ac:spMk id="29" creationId="{39895A28-5E53-4E4C-ACAD-4473A2E802DD}"/>
          </ac:spMkLst>
        </pc:spChg>
        <pc:grpChg chg="add mod">
          <ac:chgData name="Amber Weise" userId="3ca30e27-9a99-4c36-a22b-2cf2c031f50a" providerId="ADAL" clId="{FF4D6404-2DCE-479D-B9A6-36980450AA1E}" dt="2019-10-08T14:11:21.009" v="924" actId="1076"/>
          <ac:grpSpMkLst>
            <pc:docMk/>
            <pc:sldMk cId="1570356046" sldId="317"/>
            <ac:grpSpMk id="13" creationId="{9B5A8649-C007-4A79-9D20-C0F656CDC575}"/>
          </ac:grpSpMkLst>
        </pc:grpChg>
        <pc:grpChg chg="add mod">
          <ac:chgData name="Amber Weise" userId="3ca30e27-9a99-4c36-a22b-2cf2c031f50a" providerId="ADAL" clId="{FF4D6404-2DCE-479D-B9A6-36980450AA1E}" dt="2019-10-08T14:16:51.237" v="995" actId="1076"/>
          <ac:grpSpMkLst>
            <pc:docMk/>
            <pc:sldMk cId="1570356046" sldId="317"/>
            <ac:grpSpMk id="18" creationId="{EE310BCD-5B19-47B1-B4AC-908A4880680B}"/>
          </ac:grpSpMkLst>
        </pc:grpChg>
        <pc:grpChg chg="add mod">
          <ac:chgData name="Amber Weise" userId="3ca30e27-9a99-4c36-a22b-2cf2c031f50a" providerId="ADAL" clId="{FF4D6404-2DCE-479D-B9A6-36980450AA1E}" dt="2019-10-08T14:12:47.657" v="941" actId="1076"/>
          <ac:grpSpMkLst>
            <pc:docMk/>
            <pc:sldMk cId="1570356046" sldId="317"/>
            <ac:grpSpMk id="22" creationId="{10B0AAE6-EAC7-4ECC-807F-00FEF30A4FE3}"/>
          </ac:grpSpMkLst>
        </pc:grpChg>
        <pc:grpChg chg="add del mod">
          <ac:chgData name="Amber Weise" userId="3ca30e27-9a99-4c36-a22b-2cf2c031f50a" providerId="ADAL" clId="{FF4D6404-2DCE-479D-B9A6-36980450AA1E}" dt="2019-10-08T14:15:55.525" v="983" actId="478"/>
          <ac:grpSpMkLst>
            <pc:docMk/>
            <pc:sldMk cId="1570356046" sldId="317"/>
            <ac:grpSpMk id="27" creationId="{1A9E311B-7192-4929-891C-ADF508B654CF}"/>
          </ac:grpSpMkLst>
        </pc:grpChg>
        <pc:picChg chg="mod">
          <ac:chgData name="Amber Weise" userId="3ca30e27-9a99-4c36-a22b-2cf2c031f50a" providerId="ADAL" clId="{FF4D6404-2DCE-479D-B9A6-36980450AA1E}" dt="2019-10-08T14:08:51.079" v="862" actId="164"/>
          <ac:picMkLst>
            <pc:docMk/>
            <pc:sldMk cId="1570356046" sldId="317"/>
            <ac:picMk id="4" creationId="{8D4A065F-A6F0-4DEA-8A47-22EC9A9BCED9}"/>
          </ac:picMkLst>
        </pc:picChg>
        <pc:picChg chg="mod">
          <ac:chgData name="Amber Weise" userId="3ca30e27-9a99-4c36-a22b-2cf2c031f50a" providerId="ADAL" clId="{FF4D6404-2DCE-479D-B9A6-36980450AA1E}" dt="2019-10-08T14:08:51.079" v="862" actId="164"/>
          <ac:picMkLst>
            <pc:docMk/>
            <pc:sldMk cId="1570356046" sldId="317"/>
            <ac:picMk id="5" creationId="{BA3AB659-6F16-445F-863C-F9564B4A1E61}"/>
          </ac:picMkLst>
        </pc:picChg>
        <pc:picChg chg="add mod">
          <ac:chgData name="Amber Weise" userId="3ca30e27-9a99-4c36-a22b-2cf2c031f50a" providerId="ADAL" clId="{FF4D6404-2DCE-479D-B9A6-36980450AA1E}" dt="2019-10-08T14:11:39.036" v="930" actId="1076"/>
          <ac:picMkLst>
            <pc:docMk/>
            <pc:sldMk cId="1570356046" sldId="317"/>
            <ac:picMk id="16" creationId="{5E663FE1-5CF8-4647-A192-13B78B5D90D7}"/>
          </ac:picMkLst>
        </pc:picChg>
        <pc:picChg chg="mod topLvl">
          <ac:chgData name="Amber Weise" userId="3ca30e27-9a99-4c36-a22b-2cf2c031f50a" providerId="ADAL" clId="{FF4D6404-2DCE-479D-B9A6-36980450AA1E}" dt="2019-10-08T14:16:06.144" v="988" actId="14100"/>
          <ac:picMkLst>
            <pc:docMk/>
            <pc:sldMk cId="1570356046" sldId="317"/>
            <ac:picMk id="28" creationId="{B1F1703F-BDF9-4035-9ADF-3B5B5FBFE0D9}"/>
          </ac:picMkLst>
        </pc:picChg>
        <pc:cxnChg chg="add mod">
          <ac:chgData name="Amber Weise" userId="3ca30e27-9a99-4c36-a22b-2cf2c031f50a" providerId="ADAL" clId="{FF4D6404-2DCE-479D-B9A6-36980450AA1E}" dt="2019-10-08T14:11:29.281" v="927" actId="14100"/>
          <ac:cxnSpMkLst>
            <pc:docMk/>
            <pc:sldMk cId="1570356046" sldId="317"/>
            <ac:cxnSpMk id="9" creationId="{10943F61-794D-4D98-BD84-B51A0517E7B5}"/>
          </ac:cxnSpMkLst>
        </pc:cxnChg>
        <pc:cxnChg chg="mod">
          <ac:chgData name="Amber Weise" userId="3ca30e27-9a99-4c36-a22b-2cf2c031f50a" providerId="ADAL" clId="{FF4D6404-2DCE-479D-B9A6-36980450AA1E}" dt="2019-10-08T14:13:49.413" v="955" actId="1076"/>
          <ac:cxnSpMkLst>
            <pc:docMk/>
            <pc:sldMk cId="1570356046" sldId="317"/>
            <ac:cxnSpMk id="20" creationId="{382FB1E3-CAE6-4146-9072-6C194C607FD9}"/>
          </ac:cxnSpMkLst>
        </pc:cxnChg>
        <pc:cxnChg chg="mod">
          <ac:chgData name="Amber Weise" userId="3ca30e27-9a99-4c36-a22b-2cf2c031f50a" providerId="ADAL" clId="{FF4D6404-2DCE-479D-B9A6-36980450AA1E}" dt="2019-10-08T14:13:28.560" v="951" actId="1076"/>
          <ac:cxnSpMkLst>
            <pc:docMk/>
            <pc:sldMk cId="1570356046" sldId="317"/>
            <ac:cxnSpMk id="24" creationId="{C1AE2711-3021-4F7E-8FB0-F8DB4637C588}"/>
          </ac:cxnSpMkLst>
        </pc:cxnChg>
        <pc:cxnChg chg="add mod">
          <ac:chgData name="Amber Weise" userId="3ca30e27-9a99-4c36-a22b-2cf2c031f50a" providerId="ADAL" clId="{FF4D6404-2DCE-479D-B9A6-36980450AA1E}" dt="2019-10-08T14:14:47.955" v="967" actId="1076"/>
          <ac:cxnSpMkLst>
            <pc:docMk/>
            <pc:sldMk cId="1570356046" sldId="317"/>
            <ac:cxnSpMk id="26" creationId="{9E478D6C-E76C-4B9B-8BD7-82BE406B8D68}"/>
          </ac:cxnSpMkLst>
        </pc:cxnChg>
      </pc:sldChg>
      <pc:sldChg chg="modSp">
        <pc:chgData name="Amber Weise" userId="3ca30e27-9a99-4c36-a22b-2cf2c031f50a" providerId="ADAL" clId="{FF4D6404-2DCE-479D-B9A6-36980450AA1E}" dt="2019-10-08T14:18:41.429" v="1013" actId="20577"/>
        <pc:sldMkLst>
          <pc:docMk/>
          <pc:sldMk cId="2881118401" sldId="318"/>
        </pc:sldMkLst>
        <pc:spChg chg="mod">
          <ac:chgData name="Amber Weise" userId="3ca30e27-9a99-4c36-a22b-2cf2c031f50a" providerId="ADAL" clId="{FF4D6404-2DCE-479D-B9A6-36980450AA1E}" dt="2019-10-08T14:18:41.429" v="1013" actId="20577"/>
          <ac:spMkLst>
            <pc:docMk/>
            <pc:sldMk cId="2881118401" sldId="318"/>
            <ac:spMk id="3" creationId="{397EFE3C-103F-468B-BBA2-1D8E61F543BB}"/>
          </ac:spMkLst>
        </pc:spChg>
      </pc:sldChg>
      <pc:sldChg chg="del">
        <pc:chgData name="Amber Weise" userId="3ca30e27-9a99-4c36-a22b-2cf2c031f50a" providerId="ADAL" clId="{FF4D6404-2DCE-479D-B9A6-36980450AA1E}" dt="2019-10-08T14:28:57.766" v="1268" actId="47"/>
        <pc:sldMkLst>
          <pc:docMk/>
          <pc:sldMk cId="2347140639" sldId="320"/>
        </pc:sldMkLst>
      </pc:sldChg>
      <pc:sldChg chg="modSp">
        <pc:chgData name="Amber Weise" userId="3ca30e27-9a99-4c36-a22b-2cf2c031f50a" providerId="ADAL" clId="{FF4D6404-2DCE-479D-B9A6-36980450AA1E}" dt="2019-10-08T15:12:06.493" v="1423" actId="20577"/>
        <pc:sldMkLst>
          <pc:docMk/>
          <pc:sldMk cId="2587053863" sldId="322"/>
        </pc:sldMkLst>
        <pc:spChg chg="mod">
          <ac:chgData name="Amber Weise" userId="3ca30e27-9a99-4c36-a22b-2cf2c031f50a" providerId="ADAL" clId="{FF4D6404-2DCE-479D-B9A6-36980450AA1E}" dt="2019-10-08T15:12:06.493" v="1423" actId="20577"/>
          <ac:spMkLst>
            <pc:docMk/>
            <pc:sldMk cId="2587053863" sldId="322"/>
            <ac:spMk id="3" creationId="{397EFE3C-103F-468B-BBA2-1D8E61F543BB}"/>
          </ac:spMkLst>
        </pc:spChg>
      </pc:sldChg>
      <pc:sldChg chg="addSp delSp modSp del addAnim delAnim">
        <pc:chgData name="Amber Weise" userId="3ca30e27-9a99-4c36-a22b-2cf2c031f50a" providerId="ADAL" clId="{FF4D6404-2DCE-479D-B9A6-36980450AA1E}" dt="2019-10-08T14:17:06.948" v="997" actId="47"/>
        <pc:sldMkLst>
          <pc:docMk/>
          <pc:sldMk cId="2617203856" sldId="327"/>
        </pc:sldMkLst>
        <pc:grpChg chg="mod">
          <ac:chgData name="Amber Weise" userId="3ca30e27-9a99-4c36-a22b-2cf2c031f50a" providerId="ADAL" clId="{FF4D6404-2DCE-479D-B9A6-36980450AA1E}" dt="2019-10-08T14:09:05.601" v="864" actId="1076"/>
          <ac:grpSpMkLst>
            <pc:docMk/>
            <pc:sldMk cId="2617203856" sldId="327"/>
            <ac:grpSpMk id="19" creationId="{46D41B75-9C3E-4509-A4FC-733C2F21200C}"/>
          </ac:grpSpMkLst>
        </pc:grpChg>
        <pc:picChg chg="add del">
          <ac:chgData name="Amber Weise" userId="3ca30e27-9a99-4c36-a22b-2cf2c031f50a" providerId="ADAL" clId="{FF4D6404-2DCE-479D-B9A6-36980450AA1E}" dt="2019-10-08T14:09:15.945" v="866" actId="21"/>
          <ac:picMkLst>
            <pc:docMk/>
            <pc:sldMk cId="2617203856" sldId="327"/>
            <ac:picMk id="4" creationId="{BBC301C5-04CE-42AC-B9F8-9311664562DD}"/>
          </ac:picMkLst>
        </pc:picChg>
      </pc:sldChg>
      <pc:sldChg chg="addSp delSp modSp addAnim delAnim modAnim">
        <pc:chgData name="Amber Weise" userId="3ca30e27-9a99-4c36-a22b-2cf2c031f50a" providerId="ADAL" clId="{FF4D6404-2DCE-479D-B9A6-36980450AA1E}" dt="2019-10-08T15:00:43.492" v="1402"/>
        <pc:sldMkLst>
          <pc:docMk/>
          <pc:sldMk cId="795838729" sldId="328"/>
        </pc:sldMkLst>
        <pc:spChg chg="add mod">
          <ac:chgData name="Amber Weise" userId="3ca30e27-9a99-4c36-a22b-2cf2c031f50a" providerId="ADAL" clId="{FF4D6404-2DCE-479D-B9A6-36980450AA1E}" dt="2019-10-08T14:29:34.315" v="1276" actId="1076"/>
          <ac:spMkLst>
            <pc:docMk/>
            <pc:sldMk cId="795838729" sldId="328"/>
            <ac:spMk id="8" creationId="{A7556F20-5AF0-45E9-803A-85A5B5C17EA2}"/>
          </ac:spMkLst>
        </pc:spChg>
        <pc:spChg chg="del mod">
          <ac:chgData name="Amber Weise" userId="3ca30e27-9a99-4c36-a22b-2cf2c031f50a" providerId="ADAL" clId="{FF4D6404-2DCE-479D-B9A6-36980450AA1E}" dt="2019-10-08T14:29:41.660" v="1279" actId="478"/>
          <ac:spMkLst>
            <pc:docMk/>
            <pc:sldMk cId="795838729" sldId="328"/>
            <ac:spMk id="9" creationId="{48597C5D-8352-4DF5-B347-64DCE8879E32}"/>
          </ac:spMkLst>
        </pc:spChg>
        <pc:spChg chg="add mod">
          <ac:chgData name="Amber Weise" userId="3ca30e27-9a99-4c36-a22b-2cf2c031f50a" providerId="ADAL" clId="{FF4D6404-2DCE-479D-B9A6-36980450AA1E}" dt="2019-10-08T14:29:36.247" v="1277" actId="1076"/>
          <ac:spMkLst>
            <pc:docMk/>
            <pc:sldMk cId="795838729" sldId="328"/>
            <ac:spMk id="10" creationId="{21B80168-0B04-466E-BD35-D110E8C325B2}"/>
          </ac:spMkLst>
        </pc:spChg>
        <pc:spChg chg="mod">
          <ac:chgData name="Amber Weise" userId="3ca30e27-9a99-4c36-a22b-2cf2c031f50a" providerId="ADAL" clId="{FF4D6404-2DCE-479D-B9A6-36980450AA1E}" dt="2019-10-08T14:29:44.082" v="1282" actId="27636"/>
          <ac:spMkLst>
            <pc:docMk/>
            <pc:sldMk cId="795838729" sldId="328"/>
            <ac:spMk id="13" creationId="{4729477D-344B-47DC-A5DE-EE441A5AF673}"/>
          </ac:spMkLst>
        </pc:spChg>
        <pc:spChg chg="mod">
          <ac:chgData name="Amber Weise" userId="3ca30e27-9a99-4c36-a22b-2cf2c031f50a" providerId="ADAL" clId="{FF4D6404-2DCE-479D-B9A6-36980450AA1E}" dt="2019-10-08T14:55:55.262" v="1325" actId="20577"/>
          <ac:spMkLst>
            <pc:docMk/>
            <pc:sldMk cId="795838729" sldId="328"/>
            <ac:spMk id="14" creationId="{0AF38FAC-3E08-49D9-BD8E-D1F7D3B8910D}"/>
          </ac:spMkLst>
        </pc:spChg>
        <pc:spChg chg="mod">
          <ac:chgData name="Amber Weise" userId="3ca30e27-9a99-4c36-a22b-2cf2c031f50a" providerId="ADAL" clId="{FF4D6404-2DCE-479D-B9A6-36980450AA1E}" dt="2019-10-08T14:55:09.660" v="1305" actId="1076"/>
          <ac:spMkLst>
            <pc:docMk/>
            <pc:sldMk cId="795838729" sldId="328"/>
            <ac:spMk id="15" creationId="{874B4128-FC4E-4BF0-8D39-5AB3BF7D30E4}"/>
          </ac:spMkLst>
        </pc:spChg>
        <pc:spChg chg="mod">
          <ac:chgData name="Amber Weise" userId="3ca30e27-9a99-4c36-a22b-2cf2c031f50a" providerId="ADAL" clId="{FF4D6404-2DCE-479D-B9A6-36980450AA1E}" dt="2019-10-08T14:57:38.424" v="1361" actId="1076"/>
          <ac:spMkLst>
            <pc:docMk/>
            <pc:sldMk cId="795838729" sldId="328"/>
            <ac:spMk id="18" creationId="{9F907936-78C6-4647-A3BF-5B8DB82E349A}"/>
          </ac:spMkLst>
        </pc:spChg>
        <pc:spChg chg="mod">
          <ac:chgData name="Amber Weise" userId="3ca30e27-9a99-4c36-a22b-2cf2c031f50a" providerId="ADAL" clId="{FF4D6404-2DCE-479D-B9A6-36980450AA1E}" dt="2019-10-08T14:57:21.561" v="1357" actId="14100"/>
          <ac:spMkLst>
            <pc:docMk/>
            <pc:sldMk cId="795838729" sldId="328"/>
            <ac:spMk id="19" creationId="{978D2606-D80C-4DCC-9AD2-C98DB40B36DA}"/>
          </ac:spMkLst>
        </pc:spChg>
        <pc:spChg chg="mod">
          <ac:chgData name="Amber Weise" userId="3ca30e27-9a99-4c36-a22b-2cf2c031f50a" providerId="ADAL" clId="{FF4D6404-2DCE-479D-B9A6-36980450AA1E}" dt="2019-10-08T14:57:49.985" v="1364" actId="20577"/>
          <ac:spMkLst>
            <pc:docMk/>
            <pc:sldMk cId="795838729" sldId="328"/>
            <ac:spMk id="22" creationId="{8278B4DC-0B9A-4526-BB8B-F728AD0EE351}"/>
          </ac:spMkLst>
        </pc:spChg>
        <pc:spChg chg="mod">
          <ac:chgData name="Amber Weise" userId="3ca30e27-9a99-4c36-a22b-2cf2c031f50a" providerId="ADAL" clId="{FF4D6404-2DCE-479D-B9A6-36980450AA1E}" dt="2019-10-08T14:57:13.775" v="1355" actId="1038"/>
          <ac:spMkLst>
            <pc:docMk/>
            <pc:sldMk cId="795838729" sldId="328"/>
            <ac:spMk id="23" creationId="{3B19B682-314F-4CD8-AEE8-24AE9A5859A3}"/>
          </ac:spMkLst>
        </pc:spChg>
        <pc:spChg chg="mod">
          <ac:chgData name="Amber Weise" userId="3ca30e27-9a99-4c36-a22b-2cf2c031f50a" providerId="ADAL" clId="{FF4D6404-2DCE-479D-B9A6-36980450AA1E}" dt="2019-10-08T15:00:34.554" v="1401" actId="1076"/>
          <ac:spMkLst>
            <pc:docMk/>
            <pc:sldMk cId="795838729" sldId="328"/>
            <ac:spMk id="44" creationId="{125159D4-A1B4-4586-B796-B2BD8ED87DFE}"/>
          </ac:spMkLst>
        </pc:spChg>
        <pc:grpChg chg="add mod">
          <ac:chgData name="Amber Weise" userId="3ca30e27-9a99-4c36-a22b-2cf2c031f50a" providerId="ADAL" clId="{FF4D6404-2DCE-479D-B9A6-36980450AA1E}" dt="2019-10-08T14:55:38.809" v="1313" actId="14100"/>
          <ac:grpSpMkLst>
            <pc:docMk/>
            <pc:sldMk cId="795838729" sldId="328"/>
            <ac:grpSpMk id="12" creationId="{24A2BF23-4FFA-439D-B727-744851C5A113}"/>
          </ac:grpSpMkLst>
        </pc:grpChg>
        <pc:grpChg chg="add mod">
          <ac:chgData name="Amber Weise" userId="3ca30e27-9a99-4c36-a22b-2cf2c031f50a" providerId="ADAL" clId="{FF4D6404-2DCE-479D-B9A6-36980450AA1E}" dt="2019-10-08T14:57:04.888" v="1344" actId="1076"/>
          <ac:grpSpMkLst>
            <pc:docMk/>
            <pc:sldMk cId="795838729" sldId="328"/>
            <ac:grpSpMk id="17" creationId="{AEA44618-3F63-4D1C-B319-72D748E6473F}"/>
          </ac:grpSpMkLst>
        </pc:grpChg>
        <pc:grpChg chg="add mod">
          <ac:chgData name="Amber Weise" userId="3ca30e27-9a99-4c36-a22b-2cf2c031f50a" providerId="ADAL" clId="{FF4D6404-2DCE-479D-B9A6-36980450AA1E}" dt="2019-10-08T14:56:13.816" v="1329" actId="1076"/>
          <ac:grpSpMkLst>
            <pc:docMk/>
            <pc:sldMk cId="795838729" sldId="328"/>
            <ac:grpSpMk id="21" creationId="{F3DDA92B-F67D-48EB-B037-BAABC8C2F846}"/>
          </ac:grpSpMkLst>
        </pc:grpChg>
        <pc:grpChg chg="add del mod">
          <ac:chgData name="Amber Weise" userId="3ca30e27-9a99-4c36-a22b-2cf2c031f50a" providerId="ADAL" clId="{FF4D6404-2DCE-479D-B9A6-36980450AA1E}" dt="2019-10-08T14:58:18.729" v="1368"/>
          <ac:grpSpMkLst>
            <pc:docMk/>
            <pc:sldMk cId="795838729" sldId="328"/>
            <ac:grpSpMk id="25" creationId="{AC6F02D3-5B41-4D8C-80C3-59FD38580E19}"/>
          </ac:grpSpMkLst>
        </pc:grpChg>
        <pc:grpChg chg="add del mod">
          <ac:chgData name="Amber Weise" userId="3ca30e27-9a99-4c36-a22b-2cf2c031f50a" providerId="ADAL" clId="{FF4D6404-2DCE-479D-B9A6-36980450AA1E}" dt="2019-10-08T14:59:40.813" v="1389" actId="21"/>
          <ac:grpSpMkLst>
            <pc:docMk/>
            <pc:sldMk cId="795838729" sldId="328"/>
            <ac:grpSpMk id="30" creationId="{09057F39-E6A1-46B9-9CBC-A226692E6729}"/>
          </ac:grpSpMkLst>
        </pc:grpChg>
        <pc:grpChg chg="add del">
          <ac:chgData name="Amber Weise" userId="3ca30e27-9a99-4c36-a22b-2cf2c031f50a" providerId="ADAL" clId="{FF4D6404-2DCE-479D-B9A6-36980450AA1E}" dt="2019-10-08T14:59:55.064" v="1392" actId="478"/>
          <ac:grpSpMkLst>
            <pc:docMk/>
            <pc:sldMk cId="795838729" sldId="328"/>
            <ac:grpSpMk id="35" creationId="{D050C5DF-D071-4AE7-8701-EB8C72E1C7C3}"/>
          </ac:grpSpMkLst>
        </pc:grpChg>
        <pc:grpChg chg="add mod">
          <ac:chgData name="Amber Weise" userId="3ca30e27-9a99-4c36-a22b-2cf2c031f50a" providerId="ADAL" clId="{FF4D6404-2DCE-479D-B9A6-36980450AA1E}" dt="2019-10-08T15:00:30.801" v="1400" actId="1076"/>
          <ac:grpSpMkLst>
            <pc:docMk/>
            <pc:sldMk cId="795838729" sldId="328"/>
            <ac:grpSpMk id="40" creationId="{33E40AFD-4EC7-4B71-84FF-F9B18BABD4C0}"/>
          </ac:grpSpMkLst>
        </pc:grpChg>
        <pc:picChg chg="mod">
          <ac:chgData name="Amber Weise" userId="3ca30e27-9a99-4c36-a22b-2cf2c031f50a" providerId="ADAL" clId="{FF4D6404-2DCE-479D-B9A6-36980450AA1E}" dt="2019-10-08T14:30:42.764" v="1289" actId="1076"/>
          <ac:picMkLst>
            <pc:docMk/>
            <pc:sldMk cId="795838729" sldId="328"/>
            <ac:picMk id="7" creationId="{FADAFF1B-5434-4ADE-9BC0-84ACB8391C0F}"/>
          </ac:picMkLst>
        </pc:picChg>
        <pc:picChg chg="add del mod">
          <ac:chgData name="Amber Weise" userId="3ca30e27-9a99-4c36-a22b-2cf2c031f50a" providerId="ADAL" clId="{FF4D6404-2DCE-479D-B9A6-36980450AA1E}" dt="2019-10-08T14:58:47.127" v="1370" actId="478"/>
          <ac:picMkLst>
            <pc:docMk/>
            <pc:sldMk cId="795838729" sldId="328"/>
            <ac:picMk id="11" creationId="{B3CB5591-E49F-462F-882D-FC264187795D}"/>
          </ac:picMkLst>
        </pc:picChg>
        <pc:cxnChg chg="add">
          <ac:chgData name="Amber Weise" userId="3ca30e27-9a99-4c36-a22b-2cf2c031f50a" providerId="ADAL" clId="{FF4D6404-2DCE-479D-B9A6-36980450AA1E}" dt="2019-10-08T14:29:08.264" v="1269"/>
          <ac:cxnSpMkLst>
            <pc:docMk/>
            <pc:sldMk cId="795838729" sldId="328"/>
            <ac:cxnSpMk id="6" creationId="{91E2AAF0-1299-4A2A-A472-63AE3B7095AA}"/>
          </ac:cxnSpMkLst>
        </pc:cxnChg>
        <pc:cxnChg chg="mod">
          <ac:chgData name="Amber Weise" userId="3ca30e27-9a99-4c36-a22b-2cf2c031f50a" providerId="ADAL" clId="{FF4D6404-2DCE-479D-B9A6-36980450AA1E}" dt="2019-10-08T14:55:47.269" v="1316" actId="1076"/>
          <ac:cxnSpMkLst>
            <pc:docMk/>
            <pc:sldMk cId="795838729" sldId="328"/>
            <ac:cxnSpMk id="16" creationId="{7D091BFB-A1B9-49A9-A242-33AB81286DF0}"/>
          </ac:cxnSpMkLst>
        </pc:cxnChg>
        <pc:cxnChg chg="mod">
          <ac:chgData name="Amber Weise" userId="3ca30e27-9a99-4c36-a22b-2cf2c031f50a" providerId="ADAL" clId="{FF4D6404-2DCE-479D-B9A6-36980450AA1E}" dt="2019-10-08T14:57:41.087" v="1362" actId="1076"/>
          <ac:cxnSpMkLst>
            <pc:docMk/>
            <pc:sldMk cId="795838729" sldId="328"/>
            <ac:cxnSpMk id="20" creationId="{7134FE23-B998-4239-AE24-2E438F0046E9}"/>
          </ac:cxnSpMkLst>
        </pc:cxnChg>
        <pc:cxnChg chg="mod">
          <ac:chgData name="Amber Weise" userId="3ca30e27-9a99-4c36-a22b-2cf2c031f50a" providerId="ADAL" clId="{FF4D6404-2DCE-479D-B9A6-36980450AA1E}" dt="2019-10-08T14:57:00.181" v="1343" actId="1076"/>
          <ac:cxnSpMkLst>
            <pc:docMk/>
            <pc:sldMk cId="795838729" sldId="328"/>
            <ac:cxnSpMk id="24" creationId="{517FF5D0-C233-47A1-A220-21A52287E81C}"/>
          </ac:cxnSpMkLst>
        </pc:cxnChg>
      </pc:sldChg>
      <pc:sldChg chg="addSp modSp">
        <pc:chgData name="Amber Weise" userId="3ca30e27-9a99-4c36-a22b-2cf2c031f50a" providerId="ADAL" clId="{FF4D6404-2DCE-479D-B9A6-36980450AA1E}" dt="2019-10-08T15:10:27.696" v="1416" actId="1076"/>
        <pc:sldMkLst>
          <pc:docMk/>
          <pc:sldMk cId="1572757054" sldId="329"/>
        </pc:sldMkLst>
        <pc:spChg chg="mod">
          <ac:chgData name="Amber Weise" userId="3ca30e27-9a99-4c36-a22b-2cf2c031f50a" providerId="ADAL" clId="{FF4D6404-2DCE-479D-B9A6-36980450AA1E}" dt="2019-10-08T15:09:50.197" v="1406" actId="1076"/>
          <ac:spMkLst>
            <pc:docMk/>
            <pc:sldMk cId="1572757054" sldId="329"/>
            <ac:spMk id="3" creationId="{153C79B4-014C-49BE-B15D-646C63A189B9}"/>
          </ac:spMkLst>
        </pc:spChg>
        <pc:spChg chg="mod">
          <ac:chgData name="Amber Weise" userId="3ca30e27-9a99-4c36-a22b-2cf2c031f50a" providerId="ADAL" clId="{FF4D6404-2DCE-479D-B9A6-36980450AA1E}" dt="2019-10-08T15:10:10.623" v="1410" actId="164"/>
          <ac:spMkLst>
            <pc:docMk/>
            <pc:sldMk cId="1572757054" sldId="329"/>
            <ac:spMk id="5" creationId="{4AFF54A4-4424-46D6-B054-D445F517D62F}"/>
          </ac:spMkLst>
        </pc:spChg>
        <pc:spChg chg="add">
          <ac:chgData name="Amber Weise" userId="3ca30e27-9a99-4c36-a22b-2cf2c031f50a" providerId="ADAL" clId="{FF4D6404-2DCE-479D-B9A6-36980450AA1E}" dt="2019-10-08T15:10:01.603" v="1407"/>
          <ac:spMkLst>
            <pc:docMk/>
            <pc:sldMk cId="1572757054" sldId="329"/>
            <ac:spMk id="7" creationId="{C055A6D7-9740-4F27-8B82-6633866F98DF}"/>
          </ac:spMkLst>
        </pc:spChg>
        <pc:spChg chg="add">
          <ac:chgData name="Amber Weise" userId="3ca30e27-9a99-4c36-a22b-2cf2c031f50a" providerId="ADAL" clId="{FF4D6404-2DCE-479D-B9A6-36980450AA1E}" dt="2019-10-08T15:10:01.603" v="1407"/>
          <ac:spMkLst>
            <pc:docMk/>
            <pc:sldMk cId="1572757054" sldId="329"/>
            <ac:spMk id="8" creationId="{CBD8CB32-279D-402C-B482-3BB85829F5EE}"/>
          </ac:spMkLst>
        </pc:spChg>
        <pc:grpChg chg="add mod">
          <ac:chgData name="Amber Weise" userId="3ca30e27-9a99-4c36-a22b-2cf2c031f50a" providerId="ADAL" clId="{FF4D6404-2DCE-479D-B9A6-36980450AA1E}" dt="2019-10-08T15:10:13.326" v="1411" actId="1076"/>
          <ac:grpSpMkLst>
            <pc:docMk/>
            <pc:sldMk cId="1572757054" sldId="329"/>
            <ac:grpSpMk id="9" creationId="{11DCF9FB-05B6-4889-AE06-CF648526447B}"/>
          </ac:grpSpMkLst>
        </pc:grpChg>
        <pc:picChg chg="mod">
          <ac:chgData name="Amber Weise" userId="3ca30e27-9a99-4c36-a22b-2cf2c031f50a" providerId="ADAL" clId="{FF4D6404-2DCE-479D-B9A6-36980450AA1E}" dt="2019-10-08T15:10:10.623" v="1410" actId="164"/>
          <ac:picMkLst>
            <pc:docMk/>
            <pc:sldMk cId="1572757054" sldId="329"/>
            <ac:picMk id="4" creationId="{36E55392-8A81-4013-8830-318478FEFC8A}"/>
          </ac:picMkLst>
        </pc:picChg>
        <pc:picChg chg="add mod">
          <ac:chgData name="Amber Weise" userId="3ca30e27-9a99-4c36-a22b-2cf2c031f50a" providerId="ADAL" clId="{FF4D6404-2DCE-479D-B9A6-36980450AA1E}" dt="2019-10-08T15:10:27.696" v="1416" actId="1076"/>
          <ac:picMkLst>
            <pc:docMk/>
            <pc:sldMk cId="1572757054" sldId="329"/>
            <ac:picMk id="10" creationId="{9582EBAA-E82C-4CAB-885A-A38B2B873AAF}"/>
          </ac:picMkLst>
        </pc:picChg>
        <pc:cxnChg chg="add">
          <ac:chgData name="Amber Weise" userId="3ca30e27-9a99-4c36-a22b-2cf2c031f50a" providerId="ADAL" clId="{FF4D6404-2DCE-479D-B9A6-36980450AA1E}" dt="2019-10-08T15:10:01.603" v="1407"/>
          <ac:cxnSpMkLst>
            <pc:docMk/>
            <pc:sldMk cId="1572757054" sldId="329"/>
            <ac:cxnSpMk id="6" creationId="{6DC0E8C8-385E-47F7-898F-67CB46FFE1C8}"/>
          </ac:cxnSpMkLst>
        </pc:cxnChg>
      </pc:sldChg>
      <pc:sldChg chg="addSp delSp modSp del addAnim delAnim modAnim">
        <pc:chgData name="Amber Weise" userId="3ca30e27-9a99-4c36-a22b-2cf2c031f50a" providerId="ADAL" clId="{FF4D6404-2DCE-479D-B9A6-36980450AA1E}" dt="2019-10-08T15:09:40.224" v="1403" actId="47"/>
        <pc:sldMkLst>
          <pc:docMk/>
          <pc:sldMk cId="353401549" sldId="331"/>
        </pc:sldMkLst>
        <pc:grpChg chg="del mod">
          <ac:chgData name="Amber Weise" userId="3ca30e27-9a99-4c36-a22b-2cf2c031f50a" providerId="ADAL" clId="{FF4D6404-2DCE-479D-B9A6-36980450AA1E}" dt="2019-10-08T14:32:24.332" v="1291" actId="478"/>
          <ac:grpSpMkLst>
            <pc:docMk/>
            <pc:sldMk cId="353401549" sldId="331"/>
            <ac:grpSpMk id="15" creationId="{9EFBF11E-8A5E-42CF-83DB-97EFDE254FCF}"/>
          </ac:grpSpMkLst>
        </pc:grpChg>
        <pc:grpChg chg="add">
          <ac:chgData name="Amber Weise" userId="3ca30e27-9a99-4c36-a22b-2cf2c031f50a" providerId="ADAL" clId="{FF4D6404-2DCE-479D-B9A6-36980450AA1E}" dt="2019-10-08T14:59:29.743" v="1386"/>
          <ac:grpSpMkLst>
            <pc:docMk/>
            <pc:sldMk cId="353401549" sldId="331"/>
            <ac:grpSpMk id="24" creationId="{61911219-8EAD-4516-A3A8-A58FB1E24FA3}"/>
          </ac:grpSpMkLst>
        </pc:grpChg>
        <pc:grpChg chg="del mod">
          <ac:chgData name="Amber Weise" userId="3ca30e27-9a99-4c36-a22b-2cf2c031f50a" providerId="ADAL" clId="{FF4D6404-2DCE-479D-B9A6-36980450AA1E}" dt="2019-10-08T14:59:28.139" v="1385" actId="21"/>
          <ac:grpSpMkLst>
            <pc:docMk/>
            <pc:sldMk cId="353401549" sldId="331"/>
            <ac:grpSpMk id="36" creationId="{173965D2-D7AC-4955-965B-867589313713}"/>
          </ac:grpSpMkLst>
        </pc:grpChg>
        <pc:picChg chg="add del mod">
          <ac:chgData name="Amber Weise" userId="3ca30e27-9a99-4c36-a22b-2cf2c031f50a" providerId="ADAL" clId="{FF4D6404-2DCE-479D-B9A6-36980450AA1E}" dt="2019-10-08T14:32:38.570" v="1296" actId="1076"/>
          <ac:picMkLst>
            <pc:docMk/>
            <pc:sldMk cId="353401549" sldId="331"/>
            <ac:picMk id="7" creationId="{DA3A2410-714D-437B-B3D5-41852E2D823D}"/>
          </ac:picMkLst>
        </pc:picChg>
      </pc:sldChg>
      <pc:sldChg chg="del">
        <pc:chgData name="Amber Weise" userId="3ca30e27-9a99-4c36-a22b-2cf2c031f50a" providerId="ADAL" clId="{FF4D6404-2DCE-479D-B9A6-36980450AA1E}" dt="2019-10-08T15:10:31.400" v="1417" actId="47"/>
        <pc:sldMkLst>
          <pc:docMk/>
          <pc:sldMk cId="140009251" sldId="332"/>
        </pc:sldMkLst>
      </pc:sldChg>
    </pc:docChg>
  </pc:docChgLst>
  <pc:docChgLst>
    <pc:chgData name="Kenny De Angelo" userId="0b4ab973-6295-41ec-9d75-bf80382f863e" providerId="ADAL" clId="{C376C6D7-55CF-44F5-8727-4F6876F5FEC1}"/>
    <pc:docChg chg="custSel modSld">
      <pc:chgData name="Kenny De Angelo" userId="0b4ab973-6295-41ec-9d75-bf80382f863e" providerId="ADAL" clId="{C376C6D7-55CF-44F5-8727-4F6876F5FEC1}" dt="2020-06-16T13:28:43.034" v="8" actId="14100"/>
      <pc:docMkLst>
        <pc:docMk/>
      </pc:docMkLst>
      <pc:sldChg chg="addSp delSp modSp mod">
        <pc:chgData name="Kenny De Angelo" userId="0b4ab973-6295-41ec-9d75-bf80382f863e" providerId="ADAL" clId="{C376C6D7-55CF-44F5-8727-4F6876F5FEC1}" dt="2020-06-16T13:28:43.034" v="8" actId="14100"/>
        <pc:sldMkLst>
          <pc:docMk/>
          <pc:sldMk cId="3166563262" sldId="2076136563"/>
        </pc:sldMkLst>
        <pc:picChg chg="del">
          <ac:chgData name="Kenny De Angelo" userId="0b4ab973-6295-41ec-9d75-bf80382f863e" providerId="ADAL" clId="{C376C6D7-55CF-44F5-8727-4F6876F5FEC1}" dt="2020-06-16T13:28:13.131" v="1" actId="478"/>
          <ac:picMkLst>
            <pc:docMk/>
            <pc:sldMk cId="3166563262" sldId="2076136563"/>
            <ac:picMk id="5" creationId="{A4994E88-5FEF-4B24-B26F-8DDC2407691C}"/>
          </ac:picMkLst>
        </pc:picChg>
        <pc:picChg chg="add mod">
          <ac:chgData name="Kenny De Angelo" userId="0b4ab973-6295-41ec-9d75-bf80382f863e" providerId="ADAL" clId="{C376C6D7-55CF-44F5-8727-4F6876F5FEC1}" dt="2020-06-16T13:28:43.034" v="8" actId="14100"/>
          <ac:picMkLst>
            <pc:docMk/>
            <pc:sldMk cId="3166563262" sldId="2076136563"/>
            <ac:picMk id="6" creationId="{E87666A4-1DC6-4CFC-80DE-628C099F28E0}"/>
          </ac:picMkLst>
        </pc:picChg>
        <pc:picChg chg="mod">
          <ac:chgData name="Kenny De Angelo" userId="0b4ab973-6295-41ec-9d75-bf80382f863e" providerId="ADAL" clId="{C376C6D7-55CF-44F5-8727-4F6876F5FEC1}" dt="2020-06-16T13:28:25.985" v="6" actId="14100"/>
          <ac:picMkLst>
            <pc:docMk/>
            <pc:sldMk cId="3166563262" sldId="2076136563"/>
            <ac:picMk id="7" creationId="{FE2D8F54-A407-4434-A125-0D5E215265A5}"/>
          </ac:picMkLst>
        </pc:picChg>
      </pc:sldChg>
      <pc:sldChg chg="mod modShow">
        <pc:chgData name="Kenny De Angelo" userId="0b4ab973-6295-41ec-9d75-bf80382f863e" providerId="ADAL" clId="{C376C6D7-55CF-44F5-8727-4F6876F5FEC1}" dt="2020-06-16T13:20:10.081" v="0" actId="729"/>
        <pc:sldMkLst>
          <pc:docMk/>
          <pc:sldMk cId="3149406003" sldId="2076136566"/>
        </pc:sldMkLst>
      </pc:sldChg>
    </pc:docChg>
  </pc:docChgLst>
  <pc:docChgLst>
    <pc:chgData name="Marco Rocca" userId="8f0ba42f-40c7-46f4-9f3c-941e755a78e6" providerId="ADAL" clId="{350B89C3-F905-4F28-88FE-960FCFB6BC94}"/>
    <pc:docChg chg="undo custSel addSld delSld modSld sldOrd modMainMaster addSection delSection modSection">
      <pc:chgData name="Marco Rocca" userId="8f0ba42f-40c7-46f4-9f3c-941e755a78e6" providerId="ADAL" clId="{350B89C3-F905-4F28-88FE-960FCFB6BC94}" dt="2020-06-05T09:56:31.155" v="1242" actId="5793"/>
      <pc:docMkLst>
        <pc:docMk/>
      </pc:docMkLst>
      <pc:sldChg chg="del">
        <pc:chgData name="Marco Rocca" userId="8f0ba42f-40c7-46f4-9f3c-941e755a78e6" providerId="ADAL" clId="{350B89C3-F905-4F28-88FE-960FCFB6BC94}" dt="2020-06-03T10:24:49.704" v="162" actId="18676"/>
        <pc:sldMkLst>
          <pc:docMk/>
          <pc:sldMk cId="1426034815" sldId="258"/>
        </pc:sldMkLst>
      </pc:sldChg>
      <pc:sldChg chg="del">
        <pc:chgData name="Marco Rocca" userId="8f0ba42f-40c7-46f4-9f3c-941e755a78e6" providerId="ADAL" clId="{350B89C3-F905-4F28-88FE-960FCFB6BC94}" dt="2020-06-03T10:24:49.704" v="162" actId="18676"/>
        <pc:sldMkLst>
          <pc:docMk/>
          <pc:sldMk cId="1757301464" sldId="259"/>
        </pc:sldMkLst>
      </pc:sldChg>
      <pc:sldChg chg="del">
        <pc:chgData name="Marco Rocca" userId="8f0ba42f-40c7-46f4-9f3c-941e755a78e6" providerId="ADAL" clId="{350B89C3-F905-4F28-88FE-960FCFB6BC94}" dt="2020-06-03T10:24:49.704" v="162" actId="18676"/>
        <pc:sldMkLst>
          <pc:docMk/>
          <pc:sldMk cId="3906434785" sldId="261"/>
        </pc:sldMkLst>
      </pc:sldChg>
      <pc:sldChg chg="del">
        <pc:chgData name="Marco Rocca" userId="8f0ba42f-40c7-46f4-9f3c-941e755a78e6" providerId="ADAL" clId="{350B89C3-F905-4F28-88FE-960FCFB6BC94}" dt="2020-06-03T10:24:49.704" v="162" actId="18676"/>
        <pc:sldMkLst>
          <pc:docMk/>
          <pc:sldMk cId="1756818721" sldId="262"/>
        </pc:sldMkLst>
      </pc:sldChg>
      <pc:sldChg chg="del">
        <pc:chgData name="Marco Rocca" userId="8f0ba42f-40c7-46f4-9f3c-941e755a78e6" providerId="ADAL" clId="{350B89C3-F905-4F28-88FE-960FCFB6BC94}" dt="2020-06-03T10:24:49.704" v="162" actId="18676"/>
        <pc:sldMkLst>
          <pc:docMk/>
          <pc:sldMk cId="2671256782" sldId="264"/>
        </pc:sldMkLst>
      </pc:sldChg>
      <pc:sldChg chg="del">
        <pc:chgData name="Marco Rocca" userId="8f0ba42f-40c7-46f4-9f3c-941e755a78e6" providerId="ADAL" clId="{350B89C3-F905-4F28-88FE-960FCFB6BC94}" dt="2020-06-03T10:24:32.521" v="160" actId="18676"/>
        <pc:sldMkLst>
          <pc:docMk/>
          <pc:sldMk cId="1269633003" sldId="266"/>
        </pc:sldMkLst>
      </pc:sldChg>
      <pc:sldChg chg="del">
        <pc:chgData name="Marco Rocca" userId="8f0ba42f-40c7-46f4-9f3c-941e755a78e6" providerId="ADAL" clId="{350B89C3-F905-4F28-88FE-960FCFB6BC94}" dt="2020-06-03T10:24:32.521" v="160" actId="18676"/>
        <pc:sldMkLst>
          <pc:docMk/>
          <pc:sldMk cId="2401080152" sldId="267"/>
        </pc:sldMkLst>
      </pc:sldChg>
      <pc:sldChg chg="del">
        <pc:chgData name="Marco Rocca" userId="8f0ba42f-40c7-46f4-9f3c-941e755a78e6" providerId="ADAL" clId="{350B89C3-F905-4F28-88FE-960FCFB6BC94}" dt="2020-06-03T10:24:32.521" v="160" actId="18676"/>
        <pc:sldMkLst>
          <pc:docMk/>
          <pc:sldMk cId="3180220458" sldId="268"/>
        </pc:sldMkLst>
      </pc:sldChg>
      <pc:sldChg chg="del">
        <pc:chgData name="Marco Rocca" userId="8f0ba42f-40c7-46f4-9f3c-941e755a78e6" providerId="ADAL" clId="{350B89C3-F905-4F28-88FE-960FCFB6BC94}" dt="2020-06-03T10:24:32.521" v="160" actId="18676"/>
        <pc:sldMkLst>
          <pc:docMk/>
          <pc:sldMk cId="2445481854" sldId="269"/>
        </pc:sldMkLst>
      </pc:sldChg>
      <pc:sldChg chg="del">
        <pc:chgData name="Marco Rocca" userId="8f0ba42f-40c7-46f4-9f3c-941e755a78e6" providerId="ADAL" clId="{350B89C3-F905-4F28-88FE-960FCFB6BC94}" dt="2020-06-03T10:24:49.704" v="162" actId="18676"/>
        <pc:sldMkLst>
          <pc:docMk/>
          <pc:sldMk cId="2795925343" sldId="270"/>
        </pc:sldMkLst>
      </pc:sldChg>
      <pc:sldChg chg="del">
        <pc:chgData name="Marco Rocca" userId="8f0ba42f-40c7-46f4-9f3c-941e755a78e6" providerId="ADAL" clId="{350B89C3-F905-4F28-88FE-960FCFB6BC94}" dt="2020-06-03T10:24:49.704" v="162" actId="18676"/>
        <pc:sldMkLst>
          <pc:docMk/>
          <pc:sldMk cId="1453864961" sldId="271"/>
        </pc:sldMkLst>
      </pc:sldChg>
      <pc:sldChg chg="del">
        <pc:chgData name="Marco Rocca" userId="8f0ba42f-40c7-46f4-9f3c-941e755a78e6" providerId="ADAL" clId="{350B89C3-F905-4F28-88FE-960FCFB6BC94}" dt="2020-06-03T10:24:49.704" v="162" actId="18676"/>
        <pc:sldMkLst>
          <pc:docMk/>
          <pc:sldMk cId="3092789037" sldId="277"/>
        </pc:sldMkLst>
      </pc:sldChg>
      <pc:sldChg chg="del">
        <pc:chgData name="Marco Rocca" userId="8f0ba42f-40c7-46f4-9f3c-941e755a78e6" providerId="ADAL" clId="{350B89C3-F905-4F28-88FE-960FCFB6BC94}" dt="2020-06-03T10:24:49.704" v="162" actId="18676"/>
        <pc:sldMkLst>
          <pc:docMk/>
          <pc:sldMk cId="3981483460" sldId="278"/>
        </pc:sldMkLst>
      </pc:sldChg>
      <pc:sldChg chg="del">
        <pc:chgData name="Marco Rocca" userId="8f0ba42f-40c7-46f4-9f3c-941e755a78e6" providerId="ADAL" clId="{350B89C3-F905-4F28-88FE-960FCFB6BC94}" dt="2020-06-03T10:24:49.704" v="162" actId="18676"/>
        <pc:sldMkLst>
          <pc:docMk/>
          <pc:sldMk cId="3988240042" sldId="279"/>
        </pc:sldMkLst>
      </pc:sldChg>
      <pc:sldChg chg="del">
        <pc:chgData name="Marco Rocca" userId="8f0ba42f-40c7-46f4-9f3c-941e755a78e6" providerId="ADAL" clId="{350B89C3-F905-4F28-88FE-960FCFB6BC94}" dt="2020-06-03T10:24:44.240" v="161" actId="18676"/>
        <pc:sldMkLst>
          <pc:docMk/>
          <pc:sldMk cId="882155521" sldId="281"/>
        </pc:sldMkLst>
      </pc:sldChg>
      <pc:sldChg chg="del">
        <pc:chgData name="Marco Rocca" userId="8f0ba42f-40c7-46f4-9f3c-941e755a78e6" providerId="ADAL" clId="{350B89C3-F905-4F28-88FE-960FCFB6BC94}" dt="2020-06-03T10:24:44.240" v="161" actId="18676"/>
        <pc:sldMkLst>
          <pc:docMk/>
          <pc:sldMk cId="4235684094" sldId="282"/>
        </pc:sldMkLst>
      </pc:sldChg>
      <pc:sldChg chg="del">
        <pc:chgData name="Marco Rocca" userId="8f0ba42f-40c7-46f4-9f3c-941e755a78e6" providerId="ADAL" clId="{350B89C3-F905-4F28-88FE-960FCFB6BC94}" dt="2020-06-03T10:24:44.240" v="161" actId="18676"/>
        <pc:sldMkLst>
          <pc:docMk/>
          <pc:sldMk cId="822923803" sldId="285"/>
        </pc:sldMkLst>
      </pc:sldChg>
      <pc:sldChg chg="del">
        <pc:chgData name="Marco Rocca" userId="8f0ba42f-40c7-46f4-9f3c-941e755a78e6" providerId="ADAL" clId="{350B89C3-F905-4F28-88FE-960FCFB6BC94}" dt="2020-06-04T08:48:00.315" v="390" actId="47"/>
        <pc:sldMkLst>
          <pc:docMk/>
          <pc:sldMk cId="4105364412" sldId="289"/>
        </pc:sldMkLst>
      </pc:sldChg>
      <pc:sldChg chg="del">
        <pc:chgData name="Marco Rocca" userId="8f0ba42f-40c7-46f4-9f3c-941e755a78e6" providerId="ADAL" clId="{350B89C3-F905-4F28-88FE-960FCFB6BC94}" dt="2020-06-03T10:25:40.218" v="167" actId="18676"/>
        <pc:sldMkLst>
          <pc:docMk/>
          <pc:sldMk cId="2552728642" sldId="292"/>
        </pc:sldMkLst>
      </pc:sldChg>
      <pc:sldChg chg="del">
        <pc:chgData name="Marco Rocca" userId="8f0ba42f-40c7-46f4-9f3c-941e755a78e6" providerId="ADAL" clId="{350B89C3-F905-4F28-88FE-960FCFB6BC94}" dt="2020-06-03T10:25:40.218" v="167" actId="18676"/>
        <pc:sldMkLst>
          <pc:docMk/>
          <pc:sldMk cId="4126203786" sldId="293"/>
        </pc:sldMkLst>
      </pc:sldChg>
      <pc:sldChg chg="addSp delSp modSp mod modNotesTx">
        <pc:chgData name="Marco Rocca" userId="8f0ba42f-40c7-46f4-9f3c-941e755a78e6" providerId="ADAL" clId="{350B89C3-F905-4F28-88FE-960FCFB6BC94}" dt="2020-06-05T09:51:11.877" v="1148" actId="14100"/>
        <pc:sldMkLst>
          <pc:docMk/>
          <pc:sldMk cId="1083707648" sldId="297"/>
        </pc:sldMkLst>
        <pc:spChg chg="mod">
          <ac:chgData name="Marco Rocca" userId="8f0ba42f-40c7-46f4-9f3c-941e755a78e6" providerId="ADAL" clId="{350B89C3-F905-4F28-88FE-960FCFB6BC94}" dt="2020-06-05T09:51:11.877" v="1148" actId="14100"/>
          <ac:spMkLst>
            <pc:docMk/>
            <pc:sldMk cId="1083707648" sldId="297"/>
            <ac:spMk id="2" creationId="{99B1DD74-ECFF-4F6D-A99A-166E150EA5D9}"/>
          </ac:spMkLst>
        </pc:spChg>
        <pc:spChg chg="mod">
          <ac:chgData name="Marco Rocca" userId="8f0ba42f-40c7-46f4-9f3c-941e755a78e6" providerId="ADAL" clId="{350B89C3-F905-4F28-88FE-960FCFB6BC94}" dt="2020-06-03T08:03:04.993" v="87" actId="20577"/>
          <ac:spMkLst>
            <pc:docMk/>
            <pc:sldMk cId="1083707648" sldId="297"/>
            <ac:spMk id="3" creationId="{397EFE3C-103F-468B-BBA2-1D8E61F543BB}"/>
          </ac:spMkLst>
        </pc:spChg>
        <pc:graphicFrameChg chg="del">
          <ac:chgData name="Marco Rocca" userId="8f0ba42f-40c7-46f4-9f3c-941e755a78e6" providerId="ADAL" clId="{350B89C3-F905-4F28-88FE-960FCFB6BC94}" dt="2020-06-03T08:02:15.741" v="75" actId="478"/>
          <ac:graphicFrameMkLst>
            <pc:docMk/>
            <pc:sldMk cId="1083707648" sldId="297"/>
            <ac:graphicFrameMk id="6" creationId="{113F84CF-5A00-4CEB-AA51-F83919B6FDC5}"/>
          </ac:graphicFrameMkLst>
        </pc:graphicFrameChg>
        <pc:picChg chg="add mod">
          <ac:chgData name="Marco Rocca" userId="8f0ba42f-40c7-46f4-9f3c-941e755a78e6" providerId="ADAL" clId="{350B89C3-F905-4F28-88FE-960FCFB6BC94}" dt="2020-06-03T10:28:01.021" v="171" actId="1076"/>
          <ac:picMkLst>
            <pc:docMk/>
            <pc:sldMk cId="1083707648" sldId="297"/>
            <ac:picMk id="5" creationId="{514A1F53-0E42-494A-9612-B7B33E77FE7F}"/>
          </ac:picMkLst>
        </pc:picChg>
        <pc:picChg chg="del">
          <ac:chgData name="Marco Rocca" userId="8f0ba42f-40c7-46f4-9f3c-941e755a78e6" providerId="ADAL" clId="{350B89C3-F905-4F28-88FE-960FCFB6BC94}" dt="2020-06-03T08:02:23.706" v="78" actId="478"/>
          <ac:picMkLst>
            <pc:docMk/>
            <pc:sldMk cId="1083707648" sldId="297"/>
            <ac:picMk id="8" creationId="{AA94A2E5-7566-4FB2-B61B-1236B7CFB0ED}"/>
          </ac:picMkLst>
        </pc:picChg>
        <pc:picChg chg="add del mod">
          <ac:chgData name="Marco Rocca" userId="8f0ba42f-40c7-46f4-9f3c-941e755a78e6" providerId="ADAL" clId="{350B89C3-F905-4F28-88FE-960FCFB6BC94}" dt="2020-06-03T10:27:57.388" v="169" actId="478"/>
          <ac:picMkLst>
            <pc:docMk/>
            <pc:sldMk cId="1083707648" sldId="297"/>
            <ac:picMk id="9" creationId="{9EC98BEC-3D68-4772-A4D5-8B26F187F5DB}"/>
          </ac:picMkLst>
        </pc:picChg>
        <pc:cxnChg chg="del">
          <ac:chgData name="Marco Rocca" userId="8f0ba42f-40c7-46f4-9f3c-941e755a78e6" providerId="ADAL" clId="{350B89C3-F905-4F28-88FE-960FCFB6BC94}" dt="2020-06-03T08:02:18.510" v="76" actId="478"/>
          <ac:cxnSpMkLst>
            <pc:docMk/>
            <pc:sldMk cId="1083707648" sldId="297"/>
            <ac:cxnSpMk id="5" creationId="{070BBEBC-359B-41BD-A401-405FC9CC0C76}"/>
          </ac:cxnSpMkLst>
        </pc:cxnChg>
        <pc:cxnChg chg="del">
          <ac:chgData name="Marco Rocca" userId="8f0ba42f-40c7-46f4-9f3c-941e755a78e6" providerId="ADAL" clId="{350B89C3-F905-4F28-88FE-960FCFB6BC94}" dt="2020-06-03T08:02:20.961" v="77" actId="478"/>
          <ac:cxnSpMkLst>
            <pc:docMk/>
            <pc:sldMk cId="1083707648" sldId="297"/>
            <ac:cxnSpMk id="7" creationId="{ED43ED29-E9C1-4B46-904B-AB6676066F66}"/>
          </ac:cxnSpMkLst>
        </pc:cxnChg>
      </pc:sldChg>
      <pc:sldChg chg="del">
        <pc:chgData name="Marco Rocca" userId="8f0ba42f-40c7-46f4-9f3c-941e755a78e6" providerId="ADAL" clId="{350B89C3-F905-4F28-88FE-960FCFB6BC94}" dt="2020-06-03T11:44:29.161" v="312" actId="2696"/>
        <pc:sldMkLst>
          <pc:docMk/>
          <pc:sldMk cId="3622939285" sldId="299"/>
        </pc:sldMkLst>
      </pc:sldChg>
      <pc:sldChg chg="modSp del mod">
        <pc:chgData name="Marco Rocca" userId="8f0ba42f-40c7-46f4-9f3c-941e755a78e6" providerId="ADAL" clId="{350B89C3-F905-4F28-88FE-960FCFB6BC94}" dt="2020-06-03T11:57:20.442" v="377" actId="2696"/>
        <pc:sldMkLst>
          <pc:docMk/>
          <pc:sldMk cId="3763808021" sldId="301"/>
        </pc:sldMkLst>
        <pc:spChg chg="mod">
          <ac:chgData name="Marco Rocca" userId="8f0ba42f-40c7-46f4-9f3c-941e755a78e6" providerId="ADAL" clId="{350B89C3-F905-4F28-88FE-960FCFB6BC94}" dt="2020-06-03T10:24:11.524" v="159" actId="20577"/>
          <ac:spMkLst>
            <pc:docMk/>
            <pc:sldMk cId="3763808021" sldId="301"/>
            <ac:spMk id="2" creationId="{99B1DD74-ECFF-4F6D-A99A-166E150EA5D9}"/>
          </ac:spMkLst>
        </pc:spChg>
      </pc:sldChg>
      <pc:sldChg chg="del">
        <pc:chgData name="Marco Rocca" userId="8f0ba42f-40c7-46f4-9f3c-941e755a78e6" providerId="ADAL" clId="{350B89C3-F905-4F28-88FE-960FCFB6BC94}" dt="2020-06-04T09:00:50.459" v="444" actId="47"/>
        <pc:sldMkLst>
          <pc:docMk/>
          <pc:sldMk cId="3384959494" sldId="302"/>
        </pc:sldMkLst>
      </pc:sldChg>
      <pc:sldChg chg="del">
        <pc:chgData name="Marco Rocca" userId="8f0ba42f-40c7-46f4-9f3c-941e755a78e6" providerId="ADAL" clId="{350B89C3-F905-4F28-88FE-960FCFB6BC94}" dt="2020-06-03T10:25:03.948" v="165" actId="18676"/>
        <pc:sldMkLst>
          <pc:docMk/>
          <pc:sldMk cId="3300998201" sldId="304"/>
        </pc:sldMkLst>
      </pc:sldChg>
      <pc:sldChg chg="del">
        <pc:chgData name="Marco Rocca" userId="8f0ba42f-40c7-46f4-9f3c-941e755a78e6" providerId="ADAL" clId="{350B89C3-F905-4F28-88FE-960FCFB6BC94}" dt="2020-06-03T10:25:03.948" v="165" actId="18676"/>
        <pc:sldMkLst>
          <pc:docMk/>
          <pc:sldMk cId="545992169" sldId="305"/>
        </pc:sldMkLst>
      </pc:sldChg>
      <pc:sldChg chg="del">
        <pc:chgData name="Marco Rocca" userId="8f0ba42f-40c7-46f4-9f3c-941e755a78e6" providerId="ADAL" clId="{350B89C3-F905-4F28-88FE-960FCFB6BC94}" dt="2020-06-03T10:24:59.577" v="164" actId="18676"/>
        <pc:sldMkLst>
          <pc:docMk/>
          <pc:sldMk cId="1032340612" sldId="306"/>
        </pc:sldMkLst>
      </pc:sldChg>
      <pc:sldChg chg="del">
        <pc:chgData name="Marco Rocca" userId="8f0ba42f-40c7-46f4-9f3c-941e755a78e6" providerId="ADAL" clId="{350B89C3-F905-4F28-88FE-960FCFB6BC94}" dt="2020-06-03T10:24:44.240" v="161" actId="18676"/>
        <pc:sldMkLst>
          <pc:docMk/>
          <pc:sldMk cId="3362945663" sldId="308"/>
        </pc:sldMkLst>
      </pc:sldChg>
      <pc:sldChg chg="del">
        <pc:chgData name="Marco Rocca" userId="8f0ba42f-40c7-46f4-9f3c-941e755a78e6" providerId="ADAL" clId="{350B89C3-F905-4F28-88FE-960FCFB6BC94}" dt="2020-06-03T10:24:54.615" v="163" actId="18676"/>
        <pc:sldMkLst>
          <pc:docMk/>
          <pc:sldMk cId="499688128" sldId="310"/>
        </pc:sldMkLst>
      </pc:sldChg>
      <pc:sldChg chg="del">
        <pc:chgData name="Marco Rocca" userId="8f0ba42f-40c7-46f4-9f3c-941e755a78e6" providerId="ADAL" clId="{350B89C3-F905-4F28-88FE-960FCFB6BC94}" dt="2020-06-03T10:24:54.615" v="163" actId="18676"/>
        <pc:sldMkLst>
          <pc:docMk/>
          <pc:sldMk cId="3964919033" sldId="311"/>
        </pc:sldMkLst>
      </pc:sldChg>
      <pc:sldChg chg="del">
        <pc:chgData name="Marco Rocca" userId="8f0ba42f-40c7-46f4-9f3c-941e755a78e6" providerId="ADAL" clId="{350B89C3-F905-4F28-88FE-960FCFB6BC94}" dt="2020-06-03T10:24:54.615" v="163" actId="18676"/>
        <pc:sldMkLst>
          <pc:docMk/>
          <pc:sldMk cId="3638440985" sldId="315"/>
        </pc:sldMkLst>
      </pc:sldChg>
      <pc:sldChg chg="del">
        <pc:chgData name="Marco Rocca" userId="8f0ba42f-40c7-46f4-9f3c-941e755a78e6" providerId="ADAL" clId="{350B89C3-F905-4F28-88FE-960FCFB6BC94}" dt="2020-06-03T10:24:54.615" v="163" actId="18676"/>
        <pc:sldMkLst>
          <pc:docMk/>
          <pc:sldMk cId="1570356046" sldId="317"/>
        </pc:sldMkLst>
      </pc:sldChg>
      <pc:sldChg chg="del">
        <pc:chgData name="Marco Rocca" userId="8f0ba42f-40c7-46f4-9f3c-941e755a78e6" providerId="ADAL" clId="{350B89C3-F905-4F28-88FE-960FCFB6BC94}" dt="2020-06-03T10:24:54.615" v="163" actId="18676"/>
        <pc:sldMkLst>
          <pc:docMk/>
          <pc:sldMk cId="2881118401" sldId="318"/>
        </pc:sldMkLst>
      </pc:sldChg>
      <pc:sldChg chg="del">
        <pc:chgData name="Marco Rocca" userId="8f0ba42f-40c7-46f4-9f3c-941e755a78e6" providerId="ADAL" clId="{350B89C3-F905-4F28-88FE-960FCFB6BC94}" dt="2020-06-03T10:24:54.615" v="163" actId="18676"/>
        <pc:sldMkLst>
          <pc:docMk/>
          <pc:sldMk cId="1869636694" sldId="319"/>
        </pc:sldMkLst>
      </pc:sldChg>
      <pc:sldChg chg="del">
        <pc:chgData name="Marco Rocca" userId="8f0ba42f-40c7-46f4-9f3c-941e755a78e6" providerId="ADAL" clId="{350B89C3-F905-4F28-88FE-960FCFB6BC94}" dt="2020-06-03T10:25:20.388" v="166" actId="18676"/>
        <pc:sldMkLst>
          <pc:docMk/>
          <pc:sldMk cId="1922786107" sldId="321"/>
        </pc:sldMkLst>
      </pc:sldChg>
      <pc:sldChg chg="del">
        <pc:chgData name="Marco Rocca" userId="8f0ba42f-40c7-46f4-9f3c-941e755a78e6" providerId="ADAL" clId="{350B89C3-F905-4F28-88FE-960FCFB6BC94}" dt="2020-06-03T10:25:20.388" v="166" actId="18676"/>
        <pc:sldMkLst>
          <pc:docMk/>
          <pc:sldMk cId="2587053863" sldId="322"/>
        </pc:sldMkLst>
      </pc:sldChg>
      <pc:sldChg chg="del">
        <pc:chgData name="Marco Rocca" userId="8f0ba42f-40c7-46f4-9f3c-941e755a78e6" providerId="ADAL" clId="{350B89C3-F905-4F28-88FE-960FCFB6BC94}" dt="2020-06-03T10:25:03.948" v="165" actId="18676"/>
        <pc:sldMkLst>
          <pc:docMk/>
          <pc:sldMk cId="3111144912" sldId="323"/>
        </pc:sldMkLst>
      </pc:sldChg>
      <pc:sldChg chg="del">
        <pc:chgData name="Marco Rocca" userId="8f0ba42f-40c7-46f4-9f3c-941e755a78e6" providerId="ADAL" clId="{350B89C3-F905-4F28-88FE-960FCFB6BC94}" dt="2020-06-03T10:25:40.218" v="167" actId="18676"/>
        <pc:sldMkLst>
          <pc:docMk/>
          <pc:sldMk cId="1303914512" sldId="324"/>
        </pc:sldMkLst>
      </pc:sldChg>
      <pc:sldChg chg="del">
        <pc:chgData name="Marco Rocca" userId="8f0ba42f-40c7-46f4-9f3c-941e755a78e6" providerId="ADAL" clId="{350B89C3-F905-4F28-88FE-960FCFB6BC94}" dt="2020-06-03T10:25:40.218" v="167" actId="18676"/>
        <pc:sldMkLst>
          <pc:docMk/>
          <pc:sldMk cId="597831163" sldId="325"/>
        </pc:sldMkLst>
      </pc:sldChg>
      <pc:sldChg chg="del">
        <pc:chgData name="Marco Rocca" userId="8f0ba42f-40c7-46f4-9f3c-941e755a78e6" providerId="ADAL" clId="{350B89C3-F905-4F28-88FE-960FCFB6BC94}" dt="2020-06-03T10:24:49.704" v="162" actId="18676"/>
        <pc:sldMkLst>
          <pc:docMk/>
          <pc:sldMk cId="1746051624" sldId="326"/>
        </pc:sldMkLst>
      </pc:sldChg>
      <pc:sldChg chg="del">
        <pc:chgData name="Marco Rocca" userId="8f0ba42f-40c7-46f4-9f3c-941e755a78e6" providerId="ADAL" clId="{350B89C3-F905-4F28-88FE-960FCFB6BC94}" dt="2020-06-03T10:24:54.615" v="163" actId="18676"/>
        <pc:sldMkLst>
          <pc:docMk/>
          <pc:sldMk cId="795838729" sldId="328"/>
        </pc:sldMkLst>
      </pc:sldChg>
      <pc:sldChg chg="del">
        <pc:chgData name="Marco Rocca" userId="8f0ba42f-40c7-46f4-9f3c-941e755a78e6" providerId="ADAL" clId="{350B89C3-F905-4F28-88FE-960FCFB6BC94}" dt="2020-06-03T10:24:54.615" v="163" actId="18676"/>
        <pc:sldMkLst>
          <pc:docMk/>
          <pc:sldMk cId="1572757054" sldId="329"/>
        </pc:sldMkLst>
      </pc:sldChg>
      <pc:sldChg chg="del">
        <pc:chgData name="Marco Rocca" userId="8f0ba42f-40c7-46f4-9f3c-941e755a78e6" providerId="ADAL" clId="{350B89C3-F905-4F28-88FE-960FCFB6BC94}" dt="2020-06-03T10:24:54.615" v="163" actId="18676"/>
        <pc:sldMkLst>
          <pc:docMk/>
          <pc:sldMk cId="1246420614" sldId="330"/>
        </pc:sldMkLst>
      </pc:sldChg>
      <pc:sldChg chg="del">
        <pc:chgData name="Marco Rocca" userId="8f0ba42f-40c7-46f4-9f3c-941e755a78e6" providerId="ADAL" clId="{350B89C3-F905-4F28-88FE-960FCFB6BC94}" dt="2020-06-03T10:25:03.948" v="165" actId="18676"/>
        <pc:sldMkLst>
          <pc:docMk/>
          <pc:sldMk cId="1597498512" sldId="334"/>
        </pc:sldMkLst>
      </pc:sldChg>
      <pc:sldChg chg="del">
        <pc:chgData name="Marco Rocca" userId="8f0ba42f-40c7-46f4-9f3c-941e755a78e6" providerId="ADAL" clId="{350B89C3-F905-4F28-88FE-960FCFB6BC94}" dt="2020-06-03T10:25:03.948" v="165" actId="18676"/>
        <pc:sldMkLst>
          <pc:docMk/>
          <pc:sldMk cId="2757355546" sldId="335"/>
        </pc:sldMkLst>
      </pc:sldChg>
      <pc:sldChg chg="del">
        <pc:chgData name="Marco Rocca" userId="8f0ba42f-40c7-46f4-9f3c-941e755a78e6" providerId="ADAL" clId="{350B89C3-F905-4F28-88FE-960FCFB6BC94}" dt="2020-06-03T10:25:03.948" v="165" actId="18676"/>
        <pc:sldMkLst>
          <pc:docMk/>
          <pc:sldMk cId="617669993" sldId="336"/>
        </pc:sldMkLst>
      </pc:sldChg>
      <pc:sldChg chg="del">
        <pc:chgData name="Marco Rocca" userId="8f0ba42f-40c7-46f4-9f3c-941e755a78e6" providerId="ADAL" clId="{350B89C3-F905-4F28-88FE-960FCFB6BC94}" dt="2020-06-03T10:25:03.948" v="165" actId="18676"/>
        <pc:sldMkLst>
          <pc:docMk/>
          <pc:sldMk cId="4187285425" sldId="337"/>
        </pc:sldMkLst>
      </pc:sldChg>
      <pc:sldChg chg="del">
        <pc:chgData name="Marco Rocca" userId="8f0ba42f-40c7-46f4-9f3c-941e755a78e6" providerId="ADAL" clId="{350B89C3-F905-4F28-88FE-960FCFB6BC94}" dt="2020-06-03T10:25:03.948" v="165" actId="18676"/>
        <pc:sldMkLst>
          <pc:docMk/>
          <pc:sldMk cId="1573970198" sldId="338"/>
        </pc:sldMkLst>
      </pc:sldChg>
      <pc:sldChg chg="del">
        <pc:chgData name="Marco Rocca" userId="8f0ba42f-40c7-46f4-9f3c-941e755a78e6" providerId="ADAL" clId="{350B89C3-F905-4F28-88FE-960FCFB6BC94}" dt="2020-06-03T10:25:03.948" v="165" actId="18676"/>
        <pc:sldMkLst>
          <pc:docMk/>
          <pc:sldMk cId="3453835740" sldId="339"/>
        </pc:sldMkLst>
      </pc:sldChg>
      <pc:sldChg chg="del">
        <pc:chgData name="Marco Rocca" userId="8f0ba42f-40c7-46f4-9f3c-941e755a78e6" providerId="ADAL" clId="{350B89C3-F905-4F28-88FE-960FCFB6BC94}" dt="2020-06-03T10:25:03.948" v="165" actId="18676"/>
        <pc:sldMkLst>
          <pc:docMk/>
          <pc:sldMk cId="1780282206" sldId="340"/>
        </pc:sldMkLst>
      </pc:sldChg>
      <pc:sldChg chg="del">
        <pc:chgData name="Marco Rocca" userId="8f0ba42f-40c7-46f4-9f3c-941e755a78e6" providerId="ADAL" clId="{350B89C3-F905-4F28-88FE-960FCFB6BC94}" dt="2020-06-03T10:25:03.948" v="165" actId="18676"/>
        <pc:sldMkLst>
          <pc:docMk/>
          <pc:sldMk cId="493426151" sldId="341"/>
        </pc:sldMkLst>
      </pc:sldChg>
      <pc:sldChg chg="del">
        <pc:chgData name="Marco Rocca" userId="8f0ba42f-40c7-46f4-9f3c-941e755a78e6" providerId="ADAL" clId="{350B89C3-F905-4F28-88FE-960FCFB6BC94}" dt="2020-06-03T10:25:03.948" v="165" actId="18676"/>
        <pc:sldMkLst>
          <pc:docMk/>
          <pc:sldMk cId="947004936" sldId="342"/>
        </pc:sldMkLst>
      </pc:sldChg>
      <pc:sldChg chg="del">
        <pc:chgData name="Marco Rocca" userId="8f0ba42f-40c7-46f4-9f3c-941e755a78e6" providerId="ADAL" clId="{350B89C3-F905-4F28-88FE-960FCFB6BC94}" dt="2020-06-03T10:24:59.577" v="164" actId="18676"/>
        <pc:sldMkLst>
          <pc:docMk/>
          <pc:sldMk cId="430063535" sldId="343"/>
        </pc:sldMkLst>
      </pc:sldChg>
      <pc:sldChg chg="del">
        <pc:chgData name="Marco Rocca" userId="8f0ba42f-40c7-46f4-9f3c-941e755a78e6" providerId="ADAL" clId="{350B89C3-F905-4F28-88FE-960FCFB6BC94}" dt="2020-06-04T08:48:01.363" v="391" actId="47"/>
        <pc:sldMkLst>
          <pc:docMk/>
          <pc:sldMk cId="1101853964" sldId="344"/>
        </pc:sldMkLst>
      </pc:sldChg>
      <pc:sldChg chg="del">
        <pc:chgData name="Marco Rocca" userId="8f0ba42f-40c7-46f4-9f3c-941e755a78e6" providerId="ADAL" clId="{350B89C3-F905-4F28-88FE-960FCFB6BC94}" dt="2020-06-04T08:48:02.436" v="392" actId="47"/>
        <pc:sldMkLst>
          <pc:docMk/>
          <pc:sldMk cId="883119559" sldId="345"/>
        </pc:sldMkLst>
      </pc:sldChg>
      <pc:sldChg chg="del">
        <pc:chgData name="Marco Rocca" userId="8f0ba42f-40c7-46f4-9f3c-941e755a78e6" providerId="ADAL" clId="{350B89C3-F905-4F28-88FE-960FCFB6BC94}" dt="2020-06-03T10:24:59.577" v="164" actId="18676"/>
        <pc:sldMkLst>
          <pc:docMk/>
          <pc:sldMk cId="1295406834" sldId="346"/>
        </pc:sldMkLst>
      </pc:sldChg>
      <pc:sldChg chg="del">
        <pc:chgData name="Marco Rocca" userId="8f0ba42f-40c7-46f4-9f3c-941e755a78e6" providerId="ADAL" clId="{350B89C3-F905-4F28-88FE-960FCFB6BC94}" dt="2020-06-03T07:20:17.713" v="1" actId="2696"/>
        <pc:sldMkLst>
          <pc:docMk/>
          <pc:sldMk cId="2779250948" sldId="406"/>
        </pc:sldMkLst>
      </pc:sldChg>
      <pc:sldChg chg="modSp mod modShow">
        <pc:chgData name="Marco Rocca" userId="8f0ba42f-40c7-46f4-9f3c-941e755a78e6" providerId="ADAL" clId="{350B89C3-F905-4F28-88FE-960FCFB6BC94}" dt="2020-06-04T15:11:00.994" v="483" actId="729"/>
        <pc:sldMkLst>
          <pc:docMk/>
          <pc:sldMk cId="487109994" sldId="441"/>
        </pc:sldMkLst>
        <pc:spChg chg="mod">
          <ac:chgData name="Marco Rocca" userId="8f0ba42f-40c7-46f4-9f3c-941e755a78e6" providerId="ADAL" clId="{350B89C3-F905-4F28-88FE-960FCFB6BC94}" dt="2020-06-03T10:34:06.453" v="235" actId="6549"/>
          <ac:spMkLst>
            <pc:docMk/>
            <pc:sldMk cId="487109994" sldId="441"/>
            <ac:spMk id="2" creationId="{00000000-0000-0000-0000-000000000000}"/>
          </ac:spMkLst>
        </pc:spChg>
      </pc:sldChg>
      <pc:sldChg chg="modSp mod">
        <pc:chgData name="Marco Rocca" userId="8f0ba42f-40c7-46f4-9f3c-941e755a78e6" providerId="ADAL" clId="{350B89C3-F905-4F28-88FE-960FCFB6BC94}" dt="2020-06-05T08:33:19.925" v="790" actId="20577"/>
        <pc:sldMkLst>
          <pc:docMk/>
          <pc:sldMk cId="2385281224" sldId="1980"/>
        </pc:sldMkLst>
        <pc:spChg chg="mod">
          <ac:chgData name="Marco Rocca" userId="8f0ba42f-40c7-46f4-9f3c-941e755a78e6" providerId="ADAL" clId="{350B89C3-F905-4F28-88FE-960FCFB6BC94}" dt="2020-06-05T08:33:19.925" v="790" actId="20577"/>
          <ac:spMkLst>
            <pc:docMk/>
            <pc:sldMk cId="2385281224" sldId="1980"/>
            <ac:spMk id="9" creationId="{C385EC63-DDEB-4351-A380-B17AAF797670}"/>
          </ac:spMkLst>
        </pc:spChg>
      </pc:sldChg>
      <pc:sldChg chg="del">
        <pc:chgData name="Marco Rocca" userId="8f0ba42f-40c7-46f4-9f3c-941e755a78e6" providerId="ADAL" clId="{350B89C3-F905-4F28-88FE-960FCFB6BC94}" dt="2020-06-03T10:24:49.704" v="162" actId="18676"/>
        <pc:sldMkLst>
          <pc:docMk/>
          <pc:sldMk cId="3645046970" sldId="1982"/>
        </pc:sldMkLst>
      </pc:sldChg>
      <pc:sldChg chg="modSp mod">
        <pc:chgData name="Marco Rocca" userId="8f0ba42f-40c7-46f4-9f3c-941e755a78e6" providerId="ADAL" clId="{350B89C3-F905-4F28-88FE-960FCFB6BC94}" dt="2020-06-04T09:01:08.559" v="454" actId="20577"/>
        <pc:sldMkLst>
          <pc:docMk/>
          <pc:sldMk cId="80061797" sldId="1983"/>
        </pc:sldMkLst>
        <pc:spChg chg="mod">
          <ac:chgData name="Marco Rocca" userId="8f0ba42f-40c7-46f4-9f3c-941e755a78e6" providerId="ADAL" clId="{350B89C3-F905-4F28-88FE-960FCFB6BC94}" dt="2020-06-04T09:01:08.559" v="454" actId="20577"/>
          <ac:spMkLst>
            <pc:docMk/>
            <pc:sldMk cId="80061797" sldId="1983"/>
            <ac:spMk id="2" creationId="{06E4F2F9-1CFB-4041-84A8-4159C3482980}"/>
          </ac:spMkLst>
        </pc:spChg>
        <pc:spChg chg="mod">
          <ac:chgData name="Marco Rocca" userId="8f0ba42f-40c7-46f4-9f3c-941e755a78e6" providerId="ADAL" clId="{350B89C3-F905-4F28-88FE-960FCFB6BC94}" dt="2020-06-03T07:20:48.209" v="18" actId="207"/>
          <ac:spMkLst>
            <pc:docMk/>
            <pc:sldMk cId="80061797" sldId="1983"/>
            <ac:spMk id="3" creationId="{46932757-3233-44ED-8175-391BECD18E7F}"/>
          </ac:spMkLst>
        </pc:spChg>
      </pc:sldChg>
      <pc:sldChg chg="del">
        <pc:chgData name="Marco Rocca" userId="8f0ba42f-40c7-46f4-9f3c-941e755a78e6" providerId="ADAL" clId="{350B89C3-F905-4F28-88FE-960FCFB6BC94}" dt="2020-06-03T10:24:49.704" v="162" actId="18676"/>
        <pc:sldMkLst>
          <pc:docMk/>
          <pc:sldMk cId="1621800148" sldId="1985"/>
        </pc:sldMkLst>
      </pc:sldChg>
      <pc:sldChg chg="del">
        <pc:chgData name="Marco Rocca" userId="8f0ba42f-40c7-46f4-9f3c-941e755a78e6" providerId="ADAL" clId="{350B89C3-F905-4F28-88FE-960FCFB6BC94}" dt="2020-06-03T10:24:49.704" v="162" actId="18676"/>
        <pc:sldMkLst>
          <pc:docMk/>
          <pc:sldMk cId="3577659718" sldId="1986"/>
        </pc:sldMkLst>
      </pc:sldChg>
      <pc:sldChg chg="del">
        <pc:chgData name="Marco Rocca" userId="8f0ba42f-40c7-46f4-9f3c-941e755a78e6" providerId="ADAL" clId="{350B89C3-F905-4F28-88FE-960FCFB6BC94}" dt="2020-06-03T10:24:44.240" v="161" actId="18676"/>
        <pc:sldMkLst>
          <pc:docMk/>
          <pc:sldMk cId="2343751490" sldId="1987"/>
        </pc:sldMkLst>
      </pc:sldChg>
      <pc:sldChg chg="del">
        <pc:chgData name="Marco Rocca" userId="8f0ba42f-40c7-46f4-9f3c-941e755a78e6" providerId="ADAL" clId="{350B89C3-F905-4F28-88FE-960FCFB6BC94}" dt="2020-06-03T10:24:49.704" v="162" actId="18676"/>
        <pc:sldMkLst>
          <pc:docMk/>
          <pc:sldMk cId="2890414443" sldId="1988"/>
        </pc:sldMkLst>
      </pc:sldChg>
      <pc:sldChg chg="del">
        <pc:chgData name="Marco Rocca" userId="8f0ba42f-40c7-46f4-9f3c-941e755a78e6" providerId="ADAL" clId="{350B89C3-F905-4F28-88FE-960FCFB6BC94}" dt="2020-06-03T10:24:54.615" v="163" actId="18676"/>
        <pc:sldMkLst>
          <pc:docMk/>
          <pc:sldMk cId="801005215" sldId="1989"/>
        </pc:sldMkLst>
      </pc:sldChg>
      <pc:sldChg chg="del">
        <pc:chgData name="Marco Rocca" userId="8f0ba42f-40c7-46f4-9f3c-941e755a78e6" providerId="ADAL" clId="{350B89C3-F905-4F28-88FE-960FCFB6BC94}" dt="2020-06-03T10:24:59.577" v="164" actId="18676"/>
        <pc:sldMkLst>
          <pc:docMk/>
          <pc:sldMk cId="1803199138" sldId="1990"/>
        </pc:sldMkLst>
      </pc:sldChg>
      <pc:sldChg chg="del">
        <pc:chgData name="Marco Rocca" userId="8f0ba42f-40c7-46f4-9f3c-941e755a78e6" providerId="ADAL" clId="{350B89C3-F905-4F28-88FE-960FCFB6BC94}" dt="2020-06-03T10:25:03.948" v="165" actId="18676"/>
        <pc:sldMkLst>
          <pc:docMk/>
          <pc:sldMk cId="333321425" sldId="1991"/>
        </pc:sldMkLst>
      </pc:sldChg>
      <pc:sldChg chg="modSp del mod">
        <pc:chgData name="Marco Rocca" userId="8f0ba42f-40c7-46f4-9f3c-941e755a78e6" providerId="ADAL" clId="{350B89C3-F905-4F28-88FE-960FCFB6BC94}" dt="2020-06-04T15:03:06.339" v="474" actId="47"/>
        <pc:sldMkLst>
          <pc:docMk/>
          <pc:sldMk cId="1209181217" sldId="1992"/>
        </pc:sldMkLst>
        <pc:spChg chg="mod">
          <ac:chgData name="Marco Rocca" userId="8f0ba42f-40c7-46f4-9f3c-941e755a78e6" providerId="ADAL" clId="{350B89C3-F905-4F28-88FE-960FCFB6BC94}" dt="2020-06-03T13:10:45.041" v="382" actId="207"/>
          <ac:spMkLst>
            <pc:docMk/>
            <pc:sldMk cId="1209181217" sldId="1992"/>
            <ac:spMk id="2" creationId="{00000000-0000-0000-0000-000000000000}"/>
          </ac:spMkLst>
        </pc:spChg>
      </pc:sldChg>
      <pc:sldChg chg="del">
        <pc:chgData name="Marco Rocca" userId="8f0ba42f-40c7-46f4-9f3c-941e755a78e6" providerId="ADAL" clId="{350B89C3-F905-4F28-88FE-960FCFB6BC94}" dt="2020-06-03T10:25:20.388" v="166" actId="18676"/>
        <pc:sldMkLst>
          <pc:docMk/>
          <pc:sldMk cId="3393182836" sldId="1994"/>
        </pc:sldMkLst>
      </pc:sldChg>
      <pc:sldChg chg="del">
        <pc:chgData name="Marco Rocca" userId="8f0ba42f-40c7-46f4-9f3c-941e755a78e6" providerId="ADAL" clId="{350B89C3-F905-4F28-88FE-960FCFB6BC94}" dt="2020-06-03T10:25:40.218" v="167" actId="18676"/>
        <pc:sldMkLst>
          <pc:docMk/>
          <pc:sldMk cId="3743676916" sldId="1995"/>
        </pc:sldMkLst>
      </pc:sldChg>
      <pc:sldChg chg="del">
        <pc:chgData name="Marco Rocca" userId="8f0ba42f-40c7-46f4-9f3c-941e755a78e6" providerId="ADAL" clId="{350B89C3-F905-4F28-88FE-960FCFB6BC94}" dt="2020-06-03T10:24:54.615" v="163" actId="18676"/>
        <pc:sldMkLst>
          <pc:docMk/>
          <pc:sldMk cId="189618967" sldId="1996"/>
        </pc:sldMkLst>
      </pc:sldChg>
      <pc:sldChg chg="del">
        <pc:chgData name="Marco Rocca" userId="8f0ba42f-40c7-46f4-9f3c-941e755a78e6" providerId="ADAL" clId="{350B89C3-F905-4F28-88FE-960FCFB6BC94}" dt="2020-06-04T09:09:43.194" v="466" actId="2696"/>
        <pc:sldMkLst>
          <pc:docMk/>
          <pc:sldMk cId="3128373807" sldId="2076136539"/>
        </pc:sldMkLst>
      </pc:sldChg>
      <pc:sldChg chg="addSp delSp modSp add mod">
        <pc:chgData name="Marco Rocca" userId="8f0ba42f-40c7-46f4-9f3c-941e755a78e6" providerId="ADAL" clId="{350B89C3-F905-4F28-88FE-960FCFB6BC94}" dt="2020-06-05T09:51:07.900" v="1147" actId="14100"/>
        <pc:sldMkLst>
          <pc:docMk/>
          <pc:sldMk cId="2044352583" sldId="2076136540"/>
        </pc:sldMkLst>
        <pc:spChg chg="mod">
          <ac:chgData name="Marco Rocca" userId="8f0ba42f-40c7-46f4-9f3c-941e755a78e6" providerId="ADAL" clId="{350B89C3-F905-4F28-88FE-960FCFB6BC94}" dt="2020-06-05T09:51:07.900" v="1147" actId="14100"/>
          <ac:spMkLst>
            <pc:docMk/>
            <pc:sldMk cId="2044352583" sldId="2076136540"/>
            <ac:spMk id="2" creationId="{99B1DD74-ECFF-4F6D-A99A-166E150EA5D9}"/>
          </ac:spMkLst>
        </pc:spChg>
        <pc:spChg chg="mod">
          <ac:chgData name="Marco Rocca" userId="8f0ba42f-40c7-46f4-9f3c-941e755a78e6" providerId="ADAL" clId="{350B89C3-F905-4F28-88FE-960FCFB6BC94}" dt="2020-06-03T10:15:56.580" v="149" actId="27636"/>
          <ac:spMkLst>
            <pc:docMk/>
            <pc:sldMk cId="2044352583" sldId="2076136540"/>
            <ac:spMk id="3" creationId="{397EFE3C-103F-468B-BBA2-1D8E61F543BB}"/>
          </ac:spMkLst>
        </pc:spChg>
        <pc:picChg chg="add mod">
          <ac:chgData name="Marco Rocca" userId="8f0ba42f-40c7-46f4-9f3c-941e755a78e6" providerId="ADAL" clId="{350B89C3-F905-4F28-88FE-960FCFB6BC94}" dt="2020-06-03T10:16:31.825" v="151" actId="1076"/>
          <ac:picMkLst>
            <pc:docMk/>
            <pc:sldMk cId="2044352583" sldId="2076136540"/>
            <ac:picMk id="5" creationId="{74D117CA-684E-4EB8-AF4B-367CAEC06FBB}"/>
          </ac:picMkLst>
        </pc:picChg>
        <pc:picChg chg="del">
          <ac:chgData name="Marco Rocca" userId="8f0ba42f-40c7-46f4-9f3c-941e755a78e6" providerId="ADAL" clId="{350B89C3-F905-4F28-88FE-960FCFB6BC94}" dt="2020-06-03T10:06:50.281" v="107" actId="478"/>
          <ac:picMkLst>
            <pc:docMk/>
            <pc:sldMk cId="2044352583" sldId="2076136540"/>
            <ac:picMk id="9" creationId="{9EC98BEC-3D68-4772-A4D5-8B26F187F5DB}"/>
          </ac:picMkLst>
        </pc:picChg>
      </pc:sldChg>
      <pc:sldChg chg="addSp delSp modSp add mod ord modShow modNotesTx">
        <pc:chgData name="Marco Rocca" userId="8f0ba42f-40c7-46f4-9f3c-941e755a78e6" providerId="ADAL" clId="{350B89C3-F905-4F28-88FE-960FCFB6BC94}" dt="2020-06-05T09:50:21.830" v="1136" actId="14100"/>
        <pc:sldMkLst>
          <pc:docMk/>
          <pc:sldMk cId="154003345" sldId="2076136541"/>
        </pc:sldMkLst>
        <pc:spChg chg="mod">
          <ac:chgData name="Marco Rocca" userId="8f0ba42f-40c7-46f4-9f3c-941e755a78e6" providerId="ADAL" clId="{350B89C3-F905-4F28-88FE-960FCFB6BC94}" dt="2020-06-05T09:50:21.830" v="1136" actId="14100"/>
          <ac:spMkLst>
            <pc:docMk/>
            <pc:sldMk cId="154003345" sldId="2076136541"/>
            <ac:spMk id="2" creationId="{99B1DD74-ECFF-4F6D-A99A-166E150EA5D9}"/>
          </ac:spMkLst>
        </pc:spChg>
        <pc:spChg chg="mod">
          <ac:chgData name="Marco Rocca" userId="8f0ba42f-40c7-46f4-9f3c-941e755a78e6" providerId="ADAL" clId="{350B89C3-F905-4F28-88FE-960FCFB6BC94}" dt="2020-06-04T15:39:41.751" v="546" actId="14100"/>
          <ac:spMkLst>
            <pc:docMk/>
            <pc:sldMk cId="154003345" sldId="2076136541"/>
            <ac:spMk id="3" creationId="{397EFE3C-103F-468B-BBA2-1D8E61F543BB}"/>
          </ac:spMkLst>
        </pc:spChg>
        <pc:picChg chg="add mod">
          <ac:chgData name="Marco Rocca" userId="8f0ba42f-40c7-46f4-9f3c-941e755a78e6" providerId="ADAL" clId="{350B89C3-F905-4F28-88FE-960FCFB6BC94}" dt="2020-06-04T15:39:47.448" v="549" actId="1076"/>
          <ac:picMkLst>
            <pc:docMk/>
            <pc:sldMk cId="154003345" sldId="2076136541"/>
            <ac:picMk id="5" creationId="{3D284072-FD69-441E-9C67-9248AEFBE817}"/>
          </ac:picMkLst>
        </pc:picChg>
        <pc:picChg chg="del">
          <ac:chgData name="Marco Rocca" userId="8f0ba42f-40c7-46f4-9f3c-941e755a78e6" providerId="ADAL" clId="{350B89C3-F905-4F28-88FE-960FCFB6BC94}" dt="2020-06-03T10:29:52.477" v="192" actId="478"/>
          <ac:picMkLst>
            <pc:docMk/>
            <pc:sldMk cId="154003345" sldId="2076136541"/>
            <ac:picMk id="5" creationId="{74D117CA-684E-4EB8-AF4B-367CAEC06FBB}"/>
          </ac:picMkLst>
        </pc:picChg>
      </pc:sldChg>
      <pc:sldChg chg="addSp modSp add mod ord modShow modNotesTx">
        <pc:chgData name="Marco Rocca" userId="8f0ba42f-40c7-46f4-9f3c-941e755a78e6" providerId="ADAL" clId="{350B89C3-F905-4F28-88FE-960FCFB6BC94}" dt="2020-06-05T09:50:25.533" v="1137" actId="14100"/>
        <pc:sldMkLst>
          <pc:docMk/>
          <pc:sldMk cId="391012951" sldId="2076136542"/>
        </pc:sldMkLst>
        <pc:spChg chg="mod">
          <ac:chgData name="Marco Rocca" userId="8f0ba42f-40c7-46f4-9f3c-941e755a78e6" providerId="ADAL" clId="{350B89C3-F905-4F28-88FE-960FCFB6BC94}" dt="2020-06-05T09:50:25.533" v="1137" actId="14100"/>
          <ac:spMkLst>
            <pc:docMk/>
            <pc:sldMk cId="391012951" sldId="2076136542"/>
            <ac:spMk id="2" creationId="{99B1DD74-ECFF-4F6D-A99A-166E150EA5D9}"/>
          </ac:spMkLst>
        </pc:spChg>
        <pc:spChg chg="mod">
          <ac:chgData name="Marco Rocca" userId="8f0ba42f-40c7-46f4-9f3c-941e755a78e6" providerId="ADAL" clId="{350B89C3-F905-4F28-88FE-960FCFB6BC94}" dt="2020-06-04T15:37:18.079" v="539" actId="6549"/>
          <ac:spMkLst>
            <pc:docMk/>
            <pc:sldMk cId="391012951" sldId="2076136542"/>
            <ac:spMk id="3" creationId="{397EFE3C-103F-468B-BBA2-1D8E61F543BB}"/>
          </ac:spMkLst>
        </pc:spChg>
        <pc:picChg chg="add mod">
          <ac:chgData name="Marco Rocca" userId="8f0ba42f-40c7-46f4-9f3c-941e755a78e6" providerId="ADAL" clId="{350B89C3-F905-4F28-88FE-960FCFB6BC94}" dt="2020-06-04T15:37:20.330" v="540" actId="1076"/>
          <ac:picMkLst>
            <pc:docMk/>
            <pc:sldMk cId="391012951" sldId="2076136542"/>
            <ac:picMk id="5" creationId="{85AB6DBB-798C-4222-9280-F29FB4F4E842}"/>
          </ac:picMkLst>
        </pc:picChg>
      </pc:sldChg>
      <pc:sldChg chg="addSp delSp modSp add mod ord modAnim">
        <pc:chgData name="Marco Rocca" userId="8f0ba42f-40c7-46f4-9f3c-941e755a78e6" providerId="ADAL" clId="{350B89C3-F905-4F28-88FE-960FCFB6BC94}" dt="2020-06-05T09:51:04.107" v="1146" actId="14100"/>
        <pc:sldMkLst>
          <pc:docMk/>
          <pc:sldMk cId="3271323399" sldId="2076136543"/>
        </pc:sldMkLst>
        <pc:spChg chg="mod">
          <ac:chgData name="Marco Rocca" userId="8f0ba42f-40c7-46f4-9f3c-941e755a78e6" providerId="ADAL" clId="{350B89C3-F905-4F28-88FE-960FCFB6BC94}" dt="2020-06-05T09:51:04.107" v="1146" actId="14100"/>
          <ac:spMkLst>
            <pc:docMk/>
            <pc:sldMk cId="3271323399" sldId="2076136543"/>
            <ac:spMk id="2" creationId="{99B1DD74-ECFF-4F6D-A99A-166E150EA5D9}"/>
          </ac:spMkLst>
        </pc:spChg>
        <pc:spChg chg="mod">
          <ac:chgData name="Marco Rocca" userId="8f0ba42f-40c7-46f4-9f3c-941e755a78e6" providerId="ADAL" clId="{350B89C3-F905-4F28-88FE-960FCFB6BC94}" dt="2020-06-03T10:49:18.692" v="297" actId="5793"/>
          <ac:spMkLst>
            <pc:docMk/>
            <pc:sldMk cId="3271323399" sldId="2076136543"/>
            <ac:spMk id="3" creationId="{397EFE3C-103F-468B-BBA2-1D8E61F543BB}"/>
          </ac:spMkLst>
        </pc:spChg>
        <pc:picChg chg="add del">
          <ac:chgData name="Marco Rocca" userId="8f0ba42f-40c7-46f4-9f3c-941e755a78e6" providerId="ADAL" clId="{350B89C3-F905-4F28-88FE-960FCFB6BC94}" dt="2020-06-03T10:43:15.435" v="248" actId="478"/>
          <ac:picMkLst>
            <pc:docMk/>
            <pc:sldMk cId="3271323399" sldId="2076136543"/>
            <ac:picMk id="4" creationId="{83FC0C8E-8DF5-4F23-9EBF-0FB51E94CFC3}"/>
          </ac:picMkLst>
        </pc:picChg>
        <pc:picChg chg="del">
          <ac:chgData name="Marco Rocca" userId="8f0ba42f-40c7-46f4-9f3c-941e755a78e6" providerId="ADAL" clId="{350B89C3-F905-4F28-88FE-960FCFB6BC94}" dt="2020-06-03T10:34:41.467" v="242" actId="478"/>
          <ac:picMkLst>
            <pc:docMk/>
            <pc:sldMk cId="3271323399" sldId="2076136543"/>
            <ac:picMk id="5" creationId="{74D117CA-684E-4EB8-AF4B-367CAEC06FBB}"/>
          </ac:picMkLst>
        </pc:picChg>
        <pc:picChg chg="add mod">
          <ac:chgData name="Marco Rocca" userId="8f0ba42f-40c7-46f4-9f3c-941e755a78e6" providerId="ADAL" clId="{350B89C3-F905-4F28-88FE-960FCFB6BC94}" dt="2020-06-03T10:49:32.370" v="298" actId="1076"/>
          <ac:picMkLst>
            <pc:docMk/>
            <pc:sldMk cId="3271323399" sldId="2076136543"/>
            <ac:picMk id="7" creationId="{B81A8DBE-BE84-410C-A98B-AA6A2A18B934}"/>
          </ac:picMkLst>
        </pc:picChg>
        <pc:picChg chg="add mod">
          <ac:chgData name="Marco Rocca" userId="8f0ba42f-40c7-46f4-9f3c-941e755a78e6" providerId="ADAL" clId="{350B89C3-F905-4F28-88FE-960FCFB6BC94}" dt="2020-06-03T10:49:32.370" v="298" actId="1076"/>
          <ac:picMkLst>
            <pc:docMk/>
            <pc:sldMk cId="3271323399" sldId="2076136543"/>
            <ac:picMk id="8" creationId="{42C43E1C-E9F2-4EE8-AD76-E4C7D37706A9}"/>
          </ac:picMkLst>
        </pc:picChg>
        <pc:picChg chg="add mod">
          <ac:chgData name="Marco Rocca" userId="8f0ba42f-40c7-46f4-9f3c-941e755a78e6" providerId="ADAL" clId="{350B89C3-F905-4F28-88FE-960FCFB6BC94}" dt="2020-06-03T10:49:32.370" v="298" actId="1076"/>
          <ac:picMkLst>
            <pc:docMk/>
            <pc:sldMk cId="3271323399" sldId="2076136543"/>
            <ac:picMk id="9" creationId="{ABE15AAD-BA26-435D-BAF3-3036BE32A2D1}"/>
          </ac:picMkLst>
        </pc:picChg>
        <pc:picChg chg="add mod">
          <ac:chgData name="Marco Rocca" userId="8f0ba42f-40c7-46f4-9f3c-941e755a78e6" providerId="ADAL" clId="{350B89C3-F905-4F28-88FE-960FCFB6BC94}" dt="2020-06-03T10:49:32.370" v="298" actId="1076"/>
          <ac:picMkLst>
            <pc:docMk/>
            <pc:sldMk cId="3271323399" sldId="2076136543"/>
            <ac:picMk id="10" creationId="{7FF4D55D-04F8-4326-98D6-D31077A228F9}"/>
          </ac:picMkLst>
        </pc:picChg>
        <pc:picChg chg="add mod">
          <ac:chgData name="Marco Rocca" userId="8f0ba42f-40c7-46f4-9f3c-941e755a78e6" providerId="ADAL" clId="{350B89C3-F905-4F28-88FE-960FCFB6BC94}" dt="2020-06-03T10:49:32.370" v="298" actId="1076"/>
          <ac:picMkLst>
            <pc:docMk/>
            <pc:sldMk cId="3271323399" sldId="2076136543"/>
            <ac:picMk id="12" creationId="{13FE5552-558A-478A-9E44-EAE78A7254A7}"/>
          </ac:picMkLst>
        </pc:picChg>
      </pc:sldChg>
      <pc:sldChg chg="delSp modSp add mod ord">
        <pc:chgData name="Marco Rocca" userId="8f0ba42f-40c7-46f4-9f3c-941e755a78e6" providerId="ADAL" clId="{350B89C3-F905-4F28-88FE-960FCFB6BC94}" dt="2020-06-05T09:51:00.059" v="1145" actId="14100"/>
        <pc:sldMkLst>
          <pc:docMk/>
          <pc:sldMk cId="2919320408" sldId="2076136544"/>
        </pc:sldMkLst>
        <pc:spChg chg="mod">
          <ac:chgData name="Marco Rocca" userId="8f0ba42f-40c7-46f4-9f3c-941e755a78e6" providerId="ADAL" clId="{350B89C3-F905-4F28-88FE-960FCFB6BC94}" dt="2020-06-05T09:51:00.059" v="1145" actId="14100"/>
          <ac:spMkLst>
            <pc:docMk/>
            <pc:sldMk cId="2919320408" sldId="2076136544"/>
            <ac:spMk id="2" creationId="{99B1DD74-ECFF-4F6D-A99A-166E150EA5D9}"/>
          </ac:spMkLst>
        </pc:spChg>
        <pc:spChg chg="mod">
          <ac:chgData name="Marco Rocca" userId="8f0ba42f-40c7-46f4-9f3c-941e755a78e6" providerId="ADAL" clId="{350B89C3-F905-4F28-88FE-960FCFB6BC94}" dt="2020-06-03T11:43:46.274" v="307" actId="115"/>
          <ac:spMkLst>
            <pc:docMk/>
            <pc:sldMk cId="2919320408" sldId="2076136544"/>
            <ac:spMk id="3" creationId="{397EFE3C-103F-468B-BBA2-1D8E61F543BB}"/>
          </ac:spMkLst>
        </pc:spChg>
        <pc:picChg chg="del">
          <ac:chgData name="Marco Rocca" userId="8f0ba42f-40c7-46f4-9f3c-941e755a78e6" providerId="ADAL" clId="{350B89C3-F905-4F28-88FE-960FCFB6BC94}" dt="2020-06-03T11:42:55.236" v="300" actId="478"/>
          <ac:picMkLst>
            <pc:docMk/>
            <pc:sldMk cId="2919320408" sldId="2076136544"/>
            <ac:picMk id="5" creationId="{74D117CA-684E-4EB8-AF4B-367CAEC06FBB}"/>
          </ac:picMkLst>
        </pc:picChg>
      </pc:sldChg>
      <pc:sldChg chg="modSp add del mod ord">
        <pc:chgData name="Marco Rocca" userId="8f0ba42f-40c7-46f4-9f3c-941e755a78e6" providerId="ADAL" clId="{350B89C3-F905-4F28-88FE-960FCFB6BC94}" dt="2020-06-04T15:04:00.510" v="479" actId="47"/>
        <pc:sldMkLst>
          <pc:docMk/>
          <pc:sldMk cId="2980934488" sldId="2076136545"/>
        </pc:sldMkLst>
        <pc:spChg chg="mod">
          <ac:chgData name="Marco Rocca" userId="8f0ba42f-40c7-46f4-9f3c-941e755a78e6" providerId="ADAL" clId="{350B89C3-F905-4F28-88FE-960FCFB6BC94}" dt="2020-06-03T11:44:51.488" v="317" actId="207"/>
          <ac:spMkLst>
            <pc:docMk/>
            <pc:sldMk cId="2980934488" sldId="2076136545"/>
            <ac:spMk id="2" creationId="{00000000-0000-0000-0000-000000000000}"/>
          </ac:spMkLst>
        </pc:spChg>
      </pc:sldChg>
      <pc:sldChg chg="addSp delSp modSp add del mod ord modAnim">
        <pc:chgData name="Marco Rocca" userId="8f0ba42f-40c7-46f4-9f3c-941e755a78e6" providerId="ADAL" clId="{350B89C3-F905-4F28-88FE-960FCFB6BC94}" dt="2020-06-04T15:04:00.510" v="479" actId="47"/>
        <pc:sldMkLst>
          <pc:docMk/>
          <pc:sldMk cId="2286205769" sldId="2076136546"/>
        </pc:sldMkLst>
        <pc:spChg chg="mod">
          <ac:chgData name="Marco Rocca" userId="8f0ba42f-40c7-46f4-9f3c-941e755a78e6" providerId="ADAL" clId="{350B89C3-F905-4F28-88FE-960FCFB6BC94}" dt="2020-06-03T11:49:58.407" v="323"/>
          <ac:spMkLst>
            <pc:docMk/>
            <pc:sldMk cId="2286205769" sldId="2076136546"/>
            <ac:spMk id="2" creationId="{99B1DD74-ECFF-4F6D-A99A-166E150EA5D9}"/>
          </ac:spMkLst>
        </pc:spChg>
        <pc:spChg chg="mod">
          <ac:chgData name="Marco Rocca" userId="8f0ba42f-40c7-46f4-9f3c-941e755a78e6" providerId="ADAL" clId="{350B89C3-F905-4F28-88FE-960FCFB6BC94}" dt="2020-06-03T11:56:32.303" v="362" actId="20577"/>
          <ac:spMkLst>
            <pc:docMk/>
            <pc:sldMk cId="2286205769" sldId="2076136546"/>
            <ac:spMk id="3" creationId="{397EFE3C-103F-468B-BBA2-1D8E61F543BB}"/>
          </ac:spMkLst>
        </pc:spChg>
        <pc:picChg chg="del">
          <ac:chgData name="Marco Rocca" userId="8f0ba42f-40c7-46f4-9f3c-941e755a78e6" providerId="ADAL" clId="{350B89C3-F905-4F28-88FE-960FCFB6BC94}" dt="2020-06-03T11:50:01.050" v="324" actId="478"/>
          <ac:picMkLst>
            <pc:docMk/>
            <pc:sldMk cId="2286205769" sldId="2076136546"/>
            <ac:picMk id="5" creationId="{74D117CA-684E-4EB8-AF4B-367CAEC06FBB}"/>
          </ac:picMkLst>
        </pc:picChg>
        <pc:picChg chg="add mod">
          <ac:chgData name="Marco Rocca" userId="8f0ba42f-40c7-46f4-9f3c-941e755a78e6" providerId="ADAL" clId="{350B89C3-F905-4F28-88FE-960FCFB6BC94}" dt="2020-06-03T11:50:51.395" v="328" actId="1076"/>
          <ac:picMkLst>
            <pc:docMk/>
            <pc:sldMk cId="2286205769" sldId="2076136546"/>
            <ac:picMk id="6" creationId="{4DEEDA5E-82AE-4EC4-B109-08A660CDD751}"/>
          </ac:picMkLst>
        </pc:picChg>
        <pc:picChg chg="add mod">
          <ac:chgData name="Marco Rocca" userId="8f0ba42f-40c7-46f4-9f3c-941e755a78e6" providerId="ADAL" clId="{350B89C3-F905-4F28-88FE-960FCFB6BC94}" dt="2020-06-03T11:51:02.229" v="329" actId="1076"/>
          <ac:picMkLst>
            <pc:docMk/>
            <pc:sldMk cId="2286205769" sldId="2076136546"/>
            <ac:picMk id="7" creationId="{F632FE85-C1FF-467F-ABDB-FCA7B42C26A8}"/>
          </ac:picMkLst>
        </pc:picChg>
        <pc:picChg chg="add mod">
          <ac:chgData name="Marco Rocca" userId="8f0ba42f-40c7-46f4-9f3c-941e755a78e6" providerId="ADAL" clId="{350B89C3-F905-4F28-88FE-960FCFB6BC94}" dt="2020-06-03T11:51:02.229" v="329" actId="1076"/>
          <ac:picMkLst>
            <pc:docMk/>
            <pc:sldMk cId="2286205769" sldId="2076136546"/>
            <ac:picMk id="8" creationId="{9BC75A35-6231-4B2B-9821-FC1439D3911A}"/>
          </ac:picMkLst>
        </pc:picChg>
      </pc:sldChg>
      <pc:sldChg chg="addSp delSp modSp add del mod delAnim modAnim">
        <pc:chgData name="Marco Rocca" userId="8f0ba42f-40c7-46f4-9f3c-941e755a78e6" providerId="ADAL" clId="{350B89C3-F905-4F28-88FE-960FCFB6BC94}" dt="2020-06-04T15:02:03.263" v="472" actId="2696"/>
        <pc:sldMkLst>
          <pc:docMk/>
          <pc:sldMk cId="2085199343" sldId="2076136547"/>
        </pc:sldMkLst>
        <pc:spChg chg="mod">
          <ac:chgData name="Marco Rocca" userId="8f0ba42f-40c7-46f4-9f3c-941e755a78e6" providerId="ADAL" clId="{350B89C3-F905-4F28-88FE-960FCFB6BC94}" dt="2020-06-03T11:56:40.077" v="376" actId="20577"/>
          <ac:spMkLst>
            <pc:docMk/>
            <pc:sldMk cId="2085199343" sldId="2076136547"/>
            <ac:spMk id="3" creationId="{397EFE3C-103F-468B-BBA2-1D8E61F543BB}"/>
          </ac:spMkLst>
        </pc:spChg>
        <pc:spChg chg="mod">
          <ac:chgData name="Marco Rocca" userId="8f0ba42f-40c7-46f4-9f3c-941e755a78e6" providerId="ADAL" clId="{350B89C3-F905-4F28-88FE-960FCFB6BC94}" dt="2020-06-03T11:54:19.561" v="338" actId="1076"/>
          <ac:spMkLst>
            <pc:docMk/>
            <pc:sldMk cId="2085199343" sldId="2076136547"/>
            <ac:spMk id="10" creationId="{6C859226-5291-40A4-B670-53C398C79B2D}"/>
          </ac:spMkLst>
        </pc:spChg>
        <pc:spChg chg="mod">
          <ac:chgData name="Marco Rocca" userId="8f0ba42f-40c7-46f4-9f3c-941e755a78e6" providerId="ADAL" clId="{350B89C3-F905-4F28-88FE-960FCFB6BC94}" dt="2020-06-03T11:54:19.561" v="338" actId="1076"/>
          <ac:spMkLst>
            <pc:docMk/>
            <pc:sldMk cId="2085199343" sldId="2076136547"/>
            <ac:spMk id="13" creationId="{914D3FC3-4058-491E-8D7C-AB38EC2007CA}"/>
          </ac:spMkLst>
        </pc:spChg>
        <pc:spChg chg="mod">
          <ac:chgData name="Marco Rocca" userId="8f0ba42f-40c7-46f4-9f3c-941e755a78e6" providerId="ADAL" clId="{350B89C3-F905-4F28-88FE-960FCFB6BC94}" dt="2020-06-03T11:54:19.561" v="338" actId="1076"/>
          <ac:spMkLst>
            <pc:docMk/>
            <pc:sldMk cId="2085199343" sldId="2076136547"/>
            <ac:spMk id="14" creationId="{644C1E0F-AF86-4EA3-8D88-DDAC208FD910}"/>
          </ac:spMkLst>
        </pc:spChg>
        <pc:spChg chg="mod">
          <ac:chgData name="Marco Rocca" userId="8f0ba42f-40c7-46f4-9f3c-941e755a78e6" providerId="ADAL" clId="{350B89C3-F905-4F28-88FE-960FCFB6BC94}" dt="2020-06-03T11:54:19.561" v="338" actId="1076"/>
          <ac:spMkLst>
            <pc:docMk/>
            <pc:sldMk cId="2085199343" sldId="2076136547"/>
            <ac:spMk id="15" creationId="{98203519-4EE0-4B23-B3B2-58237AA1FD86}"/>
          </ac:spMkLst>
        </pc:spChg>
        <pc:spChg chg="mod">
          <ac:chgData name="Marco Rocca" userId="8f0ba42f-40c7-46f4-9f3c-941e755a78e6" providerId="ADAL" clId="{350B89C3-F905-4F28-88FE-960FCFB6BC94}" dt="2020-06-03T11:54:19.561" v="338" actId="1076"/>
          <ac:spMkLst>
            <pc:docMk/>
            <pc:sldMk cId="2085199343" sldId="2076136547"/>
            <ac:spMk id="17" creationId="{36C59288-232B-4E1D-BB01-9C381F8A3F96}"/>
          </ac:spMkLst>
        </pc:spChg>
        <pc:spChg chg="mod">
          <ac:chgData name="Marco Rocca" userId="8f0ba42f-40c7-46f4-9f3c-941e755a78e6" providerId="ADAL" clId="{350B89C3-F905-4F28-88FE-960FCFB6BC94}" dt="2020-06-03T11:54:19.561" v="338" actId="1076"/>
          <ac:spMkLst>
            <pc:docMk/>
            <pc:sldMk cId="2085199343" sldId="2076136547"/>
            <ac:spMk id="20" creationId="{814073F2-EAFD-42C5-9239-84E838D49630}"/>
          </ac:spMkLst>
        </pc:spChg>
        <pc:spChg chg="mod">
          <ac:chgData name="Marco Rocca" userId="8f0ba42f-40c7-46f4-9f3c-941e755a78e6" providerId="ADAL" clId="{350B89C3-F905-4F28-88FE-960FCFB6BC94}" dt="2020-06-03T11:54:19.561" v="338" actId="1076"/>
          <ac:spMkLst>
            <pc:docMk/>
            <pc:sldMk cId="2085199343" sldId="2076136547"/>
            <ac:spMk id="27" creationId="{445A95AE-DCA2-44E6-82F7-32DF21ED776A}"/>
          </ac:spMkLst>
        </pc:spChg>
        <pc:spChg chg="mod">
          <ac:chgData name="Marco Rocca" userId="8f0ba42f-40c7-46f4-9f3c-941e755a78e6" providerId="ADAL" clId="{350B89C3-F905-4F28-88FE-960FCFB6BC94}" dt="2020-06-03T11:54:19.561" v="338" actId="1076"/>
          <ac:spMkLst>
            <pc:docMk/>
            <pc:sldMk cId="2085199343" sldId="2076136547"/>
            <ac:spMk id="28" creationId="{9B2DBFFA-09DE-400E-BA9C-B1B5F61E33A3}"/>
          </ac:spMkLst>
        </pc:spChg>
        <pc:spChg chg="mod">
          <ac:chgData name="Marco Rocca" userId="8f0ba42f-40c7-46f4-9f3c-941e755a78e6" providerId="ADAL" clId="{350B89C3-F905-4F28-88FE-960FCFB6BC94}" dt="2020-06-03T11:54:19.561" v="338" actId="1076"/>
          <ac:spMkLst>
            <pc:docMk/>
            <pc:sldMk cId="2085199343" sldId="2076136547"/>
            <ac:spMk id="33" creationId="{214697F0-7022-4722-947B-172FC4883F75}"/>
          </ac:spMkLst>
        </pc:spChg>
        <pc:spChg chg="mod">
          <ac:chgData name="Marco Rocca" userId="8f0ba42f-40c7-46f4-9f3c-941e755a78e6" providerId="ADAL" clId="{350B89C3-F905-4F28-88FE-960FCFB6BC94}" dt="2020-06-03T11:54:19.561" v="338" actId="1076"/>
          <ac:spMkLst>
            <pc:docMk/>
            <pc:sldMk cId="2085199343" sldId="2076136547"/>
            <ac:spMk id="34" creationId="{513FB466-58AA-4980-BA8C-EA1F9F08EAD5}"/>
          </ac:spMkLst>
        </pc:spChg>
        <pc:spChg chg="mod">
          <ac:chgData name="Marco Rocca" userId="8f0ba42f-40c7-46f4-9f3c-941e755a78e6" providerId="ADAL" clId="{350B89C3-F905-4F28-88FE-960FCFB6BC94}" dt="2020-06-03T11:54:19.561" v="338" actId="1076"/>
          <ac:spMkLst>
            <pc:docMk/>
            <pc:sldMk cId="2085199343" sldId="2076136547"/>
            <ac:spMk id="35" creationId="{5BAB408D-B1ED-47E7-A832-DE5B7F6ABC94}"/>
          </ac:spMkLst>
        </pc:spChg>
        <pc:spChg chg="mod">
          <ac:chgData name="Marco Rocca" userId="8f0ba42f-40c7-46f4-9f3c-941e755a78e6" providerId="ADAL" clId="{350B89C3-F905-4F28-88FE-960FCFB6BC94}" dt="2020-06-03T11:54:19.561" v="338" actId="1076"/>
          <ac:spMkLst>
            <pc:docMk/>
            <pc:sldMk cId="2085199343" sldId="2076136547"/>
            <ac:spMk id="36" creationId="{0899E33F-6D7E-4F2B-A2BC-7455DCDBD64A}"/>
          </ac:spMkLst>
        </pc:spChg>
        <pc:spChg chg="mod">
          <ac:chgData name="Marco Rocca" userId="8f0ba42f-40c7-46f4-9f3c-941e755a78e6" providerId="ADAL" clId="{350B89C3-F905-4F28-88FE-960FCFB6BC94}" dt="2020-06-03T11:54:19.561" v="338" actId="1076"/>
          <ac:spMkLst>
            <pc:docMk/>
            <pc:sldMk cId="2085199343" sldId="2076136547"/>
            <ac:spMk id="37" creationId="{86AC8398-ED1F-4E77-BDE2-E7CFBC8EC8B4}"/>
          </ac:spMkLst>
        </pc:spChg>
        <pc:grpChg chg="add mod">
          <ac:chgData name="Marco Rocca" userId="8f0ba42f-40c7-46f4-9f3c-941e755a78e6" providerId="ADAL" clId="{350B89C3-F905-4F28-88FE-960FCFB6BC94}" dt="2020-06-03T11:54:19.561" v="338" actId="1076"/>
          <ac:grpSpMkLst>
            <pc:docMk/>
            <pc:sldMk cId="2085199343" sldId="2076136547"/>
            <ac:grpSpMk id="9" creationId="{AC031CED-34EF-4F1D-9A10-1C1D8E4B5040}"/>
          </ac:grpSpMkLst>
        </pc:grpChg>
        <pc:grpChg chg="mod">
          <ac:chgData name="Marco Rocca" userId="8f0ba42f-40c7-46f4-9f3c-941e755a78e6" providerId="ADAL" clId="{350B89C3-F905-4F28-88FE-960FCFB6BC94}" dt="2020-06-03T11:54:19.561" v="338" actId="1076"/>
          <ac:grpSpMkLst>
            <pc:docMk/>
            <pc:sldMk cId="2085199343" sldId="2076136547"/>
            <ac:grpSpMk id="11" creationId="{E23798AF-A64F-414F-9853-8BFB3F3C23E4}"/>
          </ac:grpSpMkLst>
        </pc:grpChg>
        <pc:grpChg chg="add mod">
          <ac:chgData name="Marco Rocca" userId="8f0ba42f-40c7-46f4-9f3c-941e755a78e6" providerId="ADAL" clId="{350B89C3-F905-4F28-88FE-960FCFB6BC94}" dt="2020-06-03T11:54:19.561" v="338" actId="1076"/>
          <ac:grpSpMkLst>
            <pc:docMk/>
            <pc:sldMk cId="2085199343" sldId="2076136547"/>
            <ac:grpSpMk id="16" creationId="{21E39949-A0C7-493F-9AE5-D1D238AF3FE5}"/>
          </ac:grpSpMkLst>
        </pc:grpChg>
        <pc:grpChg chg="mod">
          <ac:chgData name="Marco Rocca" userId="8f0ba42f-40c7-46f4-9f3c-941e755a78e6" providerId="ADAL" clId="{350B89C3-F905-4F28-88FE-960FCFB6BC94}" dt="2020-06-03T11:54:19.561" v="338" actId="1076"/>
          <ac:grpSpMkLst>
            <pc:docMk/>
            <pc:sldMk cId="2085199343" sldId="2076136547"/>
            <ac:grpSpMk id="18" creationId="{B03B330E-CB6B-4DD7-A091-34A319363776}"/>
          </ac:grpSpMkLst>
        </pc:grpChg>
        <pc:grpChg chg="mod">
          <ac:chgData name="Marco Rocca" userId="8f0ba42f-40c7-46f4-9f3c-941e755a78e6" providerId="ADAL" clId="{350B89C3-F905-4F28-88FE-960FCFB6BC94}" dt="2020-06-03T11:54:19.561" v="338" actId="1076"/>
          <ac:grpSpMkLst>
            <pc:docMk/>
            <pc:sldMk cId="2085199343" sldId="2076136547"/>
            <ac:grpSpMk id="21" creationId="{3CFE3763-9F4E-48A3-B1BA-1673C70AC51B}"/>
          </ac:grpSpMkLst>
        </pc:grpChg>
        <pc:grpChg chg="mod">
          <ac:chgData name="Marco Rocca" userId="8f0ba42f-40c7-46f4-9f3c-941e755a78e6" providerId="ADAL" clId="{350B89C3-F905-4F28-88FE-960FCFB6BC94}" dt="2020-06-03T11:54:19.561" v="338" actId="1076"/>
          <ac:grpSpMkLst>
            <pc:docMk/>
            <pc:sldMk cId="2085199343" sldId="2076136547"/>
            <ac:grpSpMk id="22" creationId="{9C32C22B-E0C3-4BEA-92B5-C0AB996F9F1E}"/>
          </ac:grpSpMkLst>
        </pc:grpChg>
        <pc:grpChg chg="add mod">
          <ac:chgData name="Marco Rocca" userId="8f0ba42f-40c7-46f4-9f3c-941e755a78e6" providerId="ADAL" clId="{350B89C3-F905-4F28-88FE-960FCFB6BC94}" dt="2020-06-03T11:54:19.561" v="338" actId="1076"/>
          <ac:grpSpMkLst>
            <pc:docMk/>
            <pc:sldMk cId="2085199343" sldId="2076136547"/>
            <ac:grpSpMk id="26" creationId="{E0B1D969-4468-4391-8C0A-D04DF37D747E}"/>
          </ac:grpSpMkLst>
        </pc:grpChg>
        <pc:grpChg chg="add mod">
          <ac:chgData name="Marco Rocca" userId="8f0ba42f-40c7-46f4-9f3c-941e755a78e6" providerId="ADAL" clId="{350B89C3-F905-4F28-88FE-960FCFB6BC94}" dt="2020-06-03T11:54:19.561" v="338" actId="1076"/>
          <ac:grpSpMkLst>
            <pc:docMk/>
            <pc:sldMk cId="2085199343" sldId="2076136547"/>
            <ac:grpSpMk id="30" creationId="{118E69FE-32EC-4542-B640-2CDF5E23E585}"/>
          </ac:grpSpMkLst>
        </pc:grpChg>
        <pc:grpChg chg="mod">
          <ac:chgData name="Marco Rocca" userId="8f0ba42f-40c7-46f4-9f3c-941e755a78e6" providerId="ADAL" clId="{350B89C3-F905-4F28-88FE-960FCFB6BC94}" dt="2020-06-03T11:54:19.561" v="338" actId="1076"/>
          <ac:grpSpMkLst>
            <pc:docMk/>
            <pc:sldMk cId="2085199343" sldId="2076136547"/>
            <ac:grpSpMk id="31" creationId="{531BDDEB-E463-4B8D-BDD5-DA9AB263780F}"/>
          </ac:grpSpMkLst>
        </pc:grpChg>
        <pc:picChg chg="del">
          <ac:chgData name="Marco Rocca" userId="8f0ba42f-40c7-46f4-9f3c-941e755a78e6" providerId="ADAL" clId="{350B89C3-F905-4F28-88FE-960FCFB6BC94}" dt="2020-06-03T11:53:29.688" v="331" actId="478"/>
          <ac:picMkLst>
            <pc:docMk/>
            <pc:sldMk cId="2085199343" sldId="2076136547"/>
            <ac:picMk id="6" creationId="{4DEEDA5E-82AE-4EC4-B109-08A660CDD751}"/>
          </ac:picMkLst>
        </pc:picChg>
        <pc:picChg chg="del">
          <ac:chgData name="Marco Rocca" userId="8f0ba42f-40c7-46f4-9f3c-941e755a78e6" providerId="ADAL" clId="{350B89C3-F905-4F28-88FE-960FCFB6BC94}" dt="2020-06-03T11:53:29.688" v="331" actId="478"/>
          <ac:picMkLst>
            <pc:docMk/>
            <pc:sldMk cId="2085199343" sldId="2076136547"/>
            <ac:picMk id="7" creationId="{F632FE85-C1FF-467F-ABDB-FCA7B42C26A8}"/>
          </ac:picMkLst>
        </pc:picChg>
        <pc:picChg chg="del">
          <ac:chgData name="Marco Rocca" userId="8f0ba42f-40c7-46f4-9f3c-941e755a78e6" providerId="ADAL" clId="{350B89C3-F905-4F28-88FE-960FCFB6BC94}" dt="2020-06-03T11:53:29.688" v="331" actId="478"/>
          <ac:picMkLst>
            <pc:docMk/>
            <pc:sldMk cId="2085199343" sldId="2076136547"/>
            <ac:picMk id="8" creationId="{9BC75A35-6231-4B2B-9821-FC1439D3911A}"/>
          </ac:picMkLst>
        </pc:picChg>
        <pc:picChg chg="mod">
          <ac:chgData name="Marco Rocca" userId="8f0ba42f-40c7-46f4-9f3c-941e755a78e6" providerId="ADAL" clId="{350B89C3-F905-4F28-88FE-960FCFB6BC94}" dt="2020-06-03T11:54:19.561" v="338" actId="1076"/>
          <ac:picMkLst>
            <pc:docMk/>
            <pc:sldMk cId="2085199343" sldId="2076136547"/>
            <ac:picMk id="23" creationId="{C39E7604-2F1D-43DC-9D1C-A4879A0E970D}"/>
          </ac:picMkLst>
        </pc:picChg>
        <pc:picChg chg="mod">
          <ac:chgData name="Marco Rocca" userId="8f0ba42f-40c7-46f4-9f3c-941e755a78e6" providerId="ADAL" clId="{350B89C3-F905-4F28-88FE-960FCFB6BC94}" dt="2020-06-03T11:54:19.561" v="338" actId="1076"/>
          <ac:picMkLst>
            <pc:docMk/>
            <pc:sldMk cId="2085199343" sldId="2076136547"/>
            <ac:picMk id="24" creationId="{4EA413EB-D456-4CF5-8EF6-3E7792421FD5}"/>
          </ac:picMkLst>
        </pc:picChg>
        <pc:picChg chg="mod">
          <ac:chgData name="Marco Rocca" userId="8f0ba42f-40c7-46f4-9f3c-941e755a78e6" providerId="ADAL" clId="{350B89C3-F905-4F28-88FE-960FCFB6BC94}" dt="2020-06-03T11:54:19.561" v="338" actId="1076"/>
          <ac:picMkLst>
            <pc:docMk/>
            <pc:sldMk cId="2085199343" sldId="2076136547"/>
            <ac:picMk id="25" creationId="{A4F4517A-D19A-409C-9139-4E9B37182E2F}"/>
          </ac:picMkLst>
        </pc:picChg>
        <pc:cxnChg chg="mod">
          <ac:chgData name="Marco Rocca" userId="8f0ba42f-40c7-46f4-9f3c-941e755a78e6" providerId="ADAL" clId="{350B89C3-F905-4F28-88FE-960FCFB6BC94}" dt="2020-06-03T11:54:19.561" v="338" actId="1076"/>
          <ac:cxnSpMkLst>
            <pc:docMk/>
            <pc:sldMk cId="2085199343" sldId="2076136547"/>
            <ac:cxnSpMk id="12" creationId="{D7622E32-0393-42B6-817D-B196C3D8B300}"/>
          </ac:cxnSpMkLst>
        </pc:cxnChg>
        <pc:cxnChg chg="mod">
          <ac:chgData name="Marco Rocca" userId="8f0ba42f-40c7-46f4-9f3c-941e755a78e6" providerId="ADAL" clId="{350B89C3-F905-4F28-88FE-960FCFB6BC94}" dt="2020-06-03T11:54:19.561" v="338" actId="1076"/>
          <ac:cxnSpMkLst>
            <pc:docMk/>
            <pc:sldMk cId="2085199343" sldId="2076136547"/>
            <ac:cxnSpMk id="19" creationId="{B55378E6-4280-4715-B934-B69114B98522}"/>
          </ac:cxnSpMkLst>
        </pc:cxnChg>
        <pc:cxnChg chg="mod">
          <ac:chgData name="Marco Rocca" userId="8f0ba42f-40c7-46f4-9f3c-941e755a78e6" providerId="ADAL" clId="{350B89C3-F905-4F28-88FE-960FCFB6BC94}" dt="2020-06-03T11:54:19.561" v="338" actId="1076"/>
          <ac:cxnSpMkLst>
            <pc:docMk/>
            <pc:sldMk cId="2085199343" sldId="2076136547"/>
            <ac:cxnSpMk id="29" creationId="{660472AC-F7F3-4781-9E78-B26056AF9A4B}"/>
          </ac:cxnSpMkLst>
        </pc:cxnChg>
        <pc:cxnChg chg="mod">
          <ac:chgData name="Marco Rocca" userId="8f0ba42f-40c7-46f4-9f3c-941e755a78e6" providerId="ADAL" clId="{350B89C3-F905-4F28-88FE-960FCFB6BC94}" dt="2020-06-03T11:54:19.561" v="338" actId="1076"/>
          <ac:cxnSpMkLst>
            <pc:docMk/>
            <pc:sldMk cId="2085199343" sldId="2076136547"/>
            <ac:cxnSpMk id="32" creationId="{92E5651D-2C99-4F81-9809-32CB0C4BB129}"/>
          </ac:cxnSpMkLst>
        </pc:cxnChg>
      </pc:sldChg>
      <pc:sldChg chg="add del ord">
        <pc:chgData name="Marco Rocca" userId="8f0ba42f-40c7-46f4-9f3c-941e755a78e6" providerId="ADAL" clId="{350B89C3-F905-4F28-88FE-960FCFB6BC94}" dt="2020-06-03T11:56:15.302" v="348" actId="2696"/>
        <pc:sldMkLst>
          <pc:docMk/>
          <pc:sldMk cId="1782540000" sldId="2076136548"/>
        </pc:sldMkLst>
      </pc:sldChg>
      <pc:sldChg chg="addSp delSp modSp add del mod">
        <pc:chgData name="Marco Rocca" userId="8f0ba42f-40c7-46f4-9f3c-941e755a78e6" providerId="ADAL" clId="{350B89C3-F905-4F28-88FE-960FCFB6BC94}" dt="2020-06-04T15:02:03.263" v="472" actId="2696"/>
        <pc:sldMkLst>
          <pc:docMk/>
          <pc:sldMk cId="275745576" sldId="2076136549"/>
        </pc:sldMkLst>
        <pc:spChg chg="mod">
          <ac:chgData name="Marco Rocca" userId="8f0ba42f-40c7-46f4-9f3c-941e755a78e6" providerId="ADAL" clId="{350B89C3-F905-4F28-88FE-960FCFB6BC94}" dt="2020-06-03T11:55:31.693" v="347" actId="20577"/>
          <ac:spMkLst>
            <pc:docMk/>
            <pc:sldMk cId="275745576" sldId="2076136549"/>
            <ac:spMk id="2" creationId="{48110B5B-D19C-4946-879F-F7A756CE5B9E}"/>
          </ac:spMkLst>
        </pc:spChg>
        <pc:spChg chg="mod">
          <ac:chgData name="Marco Rocca" userId="8f0ba42f-40c7-46f4-9f3c-941e755a78e6" providerId="ADAL" clId="{350B89C3-F905-4F28-88FE-960FCFB6BC94}" dt="2020-06-03T11:55:27.102" v="345" actId="27636"/>
          <ac:spMkLst>
            <pc:docMk/>
            <pc:sldMk cId="275745576" sldId="2076136549"/>
            <ac:spMk id="3" creationId="{44D59EC8-41E7-4EB9-9A8E-9A4B4275C4A6}"/>
          </ac:spMkLst>
        </pc:spChg>
        <pc:spChg chg="add del">
          <ac:chgData name="Marco Rocca" userId="8f0ba42f-40c7-46f4-9f3c-941e755a78e6" providerId="ADAL" clId="{350B89C3-F905-4F28-88FE-960FCFB6BC94}" dt="2020-06-03T13:28:46.633" v="384" actId="478"/>
          <ac:spMkLst>
            <pc:docMk/>
            <pc:sldMk cId="275745576" sldId="2076136549"/>
            <ac:spMk id="16" creationId="{04DBFEB7-999D-449E-8A44-F29B098D9C1C}"/>
          </ac:spMkLst>
        </pc:spChg>
        <pc:spChg chg="add del">
          <ac:chgData name="Marco Rocca" userId="8f0ba42f-40c7-46f4-9f3c-941e755a78e6" providerId="ADAL" clId="{350B89C3-F905-4F28-88FE-960FCFB6BC94}" dt="2020-06-03T13:29:05.850" v="386" actId="478"/>
          <ac:spMkLst>
            <pc:docMk/>
            <pc:sldMk cId="275745576" sldId="2076136549"/>
            <ac:spMk id="17" creationId="{51B4A461-5D4C-488C-BAF6-90E100AAE688}"/>
          </ac:spMkLst>
        </pc:spChg>
      </pc:sldChg>
      <pc:sldChg chg="add del">
        <pc:chgData name="Marco Rocca" userId="8f0ba42f-40c7-46f4-9f3c-941e755a78e6" providerId="ADAL" clId="{350B89C3-F905-4F28-88FE-960FCFB6BC94}" dt="2020-06-04T15:04:00.510" v="479" actId="47"/>
        <pc:sldMkLst>
          <pc:docMk/>
          <pc:sldMk cId="673758809" sldId="2076136550"/>
        </pc:sldMkLst>
      </pc:sldChg>
      <pc:sldChg chg="modSp add del">
        <pc:chgData name="Marco Rocca" userId="8f0ba42f-40c7-46f4-9f3c-941e755a78e6" providerId="ADAL" clId="{350B89C3-F905-4F28-88FE-960FCFB6BC94}" dt="2020-06-04T15:03:06.339" v="474" actId="47"/>
        <pc:sldMkLst>
          <pc:docMk/>
          <pc:sldMk cId="809441798" sldId="2076136551"/>
        </pc:sldMkLst>
        <pc:spChg chg="mod">
          <ac:chgData name="Marco Rocca" userId="8f0ba42f-40c7-46f4-9f3c-941e755a78e6" providerId="ADAL" clId="{350B89C3-F905-4F28-88FE-960FCFB6BC94}" dt="2020-06-04T08:47:21.458" v="389" actId="207"/>
          <ac:spMkLst>
            <pc:docMk/>
            <pc:sldMk cId="809441798" sldId="2076136551"/>
            <ac:spMk id="24" creationId="{60A737E1-0405-4E86-B9F6-2C3E9D16A335}"/>
          </ac:spMkLst>
        </pc:spChg>
      </pc:sldChg>
      <pc:sldChg chg="modSp add del mod ord">
        <pc:chgData name="Marco Rocca" userId="8f0ba42f-40c7-46f4-9f3c-941e755a78e6" providerId="ADAL" clId="{350B89C3-F905-4F28-88FE-960FCFB6BC94}" dt="2020-06-04T09:00:43.798" v="443" actId="2696"/>
        <pc:sldMkLst>
          <pc:docMk/>
          <pc:sldMk cId="2718026807" sldId="2076136552"/>
        </pc:sldMkLst>
        <pc:spChg chg="mod">
          <ac:chgData name="Marco Rocca" userId="8f0ba42f-40c7-46f4-9f3c-941e755a78e6" providerId="ADAL" clId="{350B89C3-F905-4F28-88FE-960FCFB6BC94}" dt="2020-06-04T08:56:59.103" v="411" actId="20577"/>
          <ac:spMkLst>
            <pc:docMk/>
            <pc:sldMk cId="2718026807" sldId="2076136552"/>
            <ac:spMk id="2" creationId="{99B1DD74-ECFF-4F6D-A99A-166E150EA5D9}"/>
          </ac:spMkLst>
        </pc:spChg>
        <pc:spChg chg="mod">
          <ac:chgData name="Marco Rocca" userId="8f0ba42f-40c7-46f4-9f3c-941e755a78e6" providerId="ADAL" clId="{350B89C3-F905-4F28-88FE-960FCFB6BC94}" dt="2020-06-04T08:59:48.292" v="427" actId="20577"/>
          <ac:spMkLst>
            <pc:docMk/>
            <pc:sldMk cId="2718026807" sldId="2076136552"/>
            <ac:spMk id="3" creationId="{397EFE3C-103F-468B-BBA2-1D8E61F543BB}"/>
          </ac:spMkLst>
        </pc:spChg>
      </pc:sldChg>
      <pc:sldChg chg="modSp add mod ord modShow">
        <pc:chgData name="Marco Rocca" userId="8f0ba42f-40c7-46f4-9f3c-941e755a78e6" providerId="ADAL" clId="{350B89C3-F905-4F28-88FE-960FCFB6BC94}" dt="2020-06-05T09:50:15.909" v="1135" actId="14100"/>
        <pc:sldMkLst>
          <pc:docMk/>
          <pc:sldMk cId="3124863696" sldId="2076136553"/>
        </pc:sldMkLst>
        <pc:spChg chg="mod">
          <ac:chgData name="Marco Rocca" userId="8f0ba42f-40c7-46f4-9f3c-941e755a78e6" providerId="ADAL" clId="{350B89C3-F905-4F28-88FE-960FCFB6BC94}" dt="2020-06-05T09:50:15.909" v="1135" actId="14100"/>
          <ac:spMkLst>
            <pc:docMk/>
            <pc:sldMk cId="3124863696" sldId="2076136553"/>
            <ac:spMk id="2" creationId="{99B1DD74-ECFF-4F6D-A99A-166E150EA5D9}"/>
          </ac:spMkLst>
        </pc:spChg>
        <pc:spChg chg="mod">
          <ac:chgData name="Marco Rocca" userId="8f0ba42f-40c7-46f4-9f3c-941e755a78e6" providerId="ADAL" clId="{350B89C3-F905-4F28-88FE-960FCFB6BC94}" dt="2020-06-04T09:00:28.507" v="442" actId="20577"/>
          <ac:spMkLst>
            <pc:docMk/>
            <pc:sldMk cId="3124863696" sldId="2076136553"/>
            <ac:spMk id="3" creationId="{397EFE3C-103F-468B-BBA2-1D8E61F543BB}"/>
          </ac:spMkLst>
        </pc:spChg>
      </pc:sldChg>
      <pc:sldChg chg="modSp add">
        <pc:chgData name="Marco Rocca" userId="8f0ba42f-40c7-46f4-9f3c-941e755a78e6" providerId="ADAL" clId="{350B89C3-F905-4F28-88FE-960FCFB6BC94}" dt="2020-06-04T09:08:20.168" v="460" actId="207"/>
        <pc:sldMkLst>
          <pc:docMk/>
          <pc:sldMk cId="935747317" sldId="2076136554"/>
        </pc:sldMkLst>
        <pc:spChg chg="mod">
          <ac:chgData name="Marco Rocca" userId="8f0ba42f-40c7-46f4-9f3c-941e755a78e6" providerId="ADAL" clId="{350B89C3-F905-4F28-88FE-960FCFB6BC94}" dt="2020-06-04T09:08:08.271" v="458" actId="207"/>
          <ac:spMkLst>
            <pc:docMk/>
            <pc:sldMk cId="935747317" sldId="2076136554"/>
            <ac:spMk id="38" creationId="{C27E5AEE-940E-4853-8DA3-51CC7957BB2F}"/>
          </ac:spMkLst>
        </pc:spChg>
        <pc:spChg chg="mod">
          <ac:chgData name="Marco Rocca" userId="8f0ba42f-40c7-46f4-9f3c-941e755a78e6" providerId="ADAL" clId="{350B89C3-F905-4F28-88FE-960FCFB6BC94}" dt="2020-06-04T09:08:15.903" v="459" actId="207"/>
          <ac:spMkLst>
            <pc:docMk/>
            <pc:sldMk cId="935747317" sldId="2076136554"/>
            <ac:spMk id="39" creationId="{2752B587-5FCE-4AE8-8374-3680E14D9A0F}"/>
          </ac:spMkLst>
        </pc:spChg>
        <pc:spChg chg="mod">
          <ac:chgData name="Marco Rocca" userId="8f0ba42f-40c7-46f4-9f3c-941e755a78e6" providerId="ADAL" clId="{350B89C3-F905-4F28-88FE-960FCFB6BC94}" dt="2020-06-04T09:08:20.168" v="460" actId="207"/>
          <ac:spMkLst>
            <pc:docMk/>
            <pc:sldMk cId="935747317" sldId="2076136554"/>
            <ac:spMk id="40" creationId="{3F011A2F-C6A6-42B7-A6F4-C3D70B4F50F0}"/>
          </ac:spMkLst>
        </pc:spChg>
      </pc:sldChg>
      <pc:sldChg chg="modSp add mod">
        <pc:chgData name="Marco Rocca" userId="8f0ba42f-40c7-46f4-9f3c-941e755a78e6" providerId="ADAL" clId="{350B89C3-F905-4F28-88FE-960FCFB6BC94}" dt="2020-06-04T09:08:37.845" v="463" actId="207"/>
        <pc:sldMkLst>
          <pc:docMk/>
          <pc:sldMk cId="3321156369" sldId="2076136555"/>
        </pc:sldMkLst>
        <pc:spChg chg="mod">
          <ac:chgData name="Marco Rocca" userId="8f0ba42f-40c7-46f4-9f3c-941e755a78e6" providerId="ADAL" clId="{350B89C3-F905-4F28-88FE-960FCFB6BC94}" dt="2020-06-04T09:08:02.243" v="457" actId="255"/>
          <ac:spMkLst>
            <pc:docMk/>
            <pc:sldMk cId="3321156369" sldId="2076136555"/>
            <ac:spMk id="2" creationId="{826B8ED0-6CFB-4B09-9F67-9DF3CEC17F67}"/>
          </ac:spMkLst>
        </pc:spChg>
        <pc:graphicFrameChg chg="modGraphic">
          <ac:chgData name="Marco Rocca" userId="8f0ba42f-40c7-46f4-9f3c-941e755a78e6" providerId="ADAL" clId="{350B89C3-F905-4F28-88FE-960FCFB6BC94}" dt="2020-06-04T09:08:37.845" v="463" actId="207"/>
          <ac:graphicFrameMkLst>
            <pc:docMk/>
            <pc:sldMk cId="3321156369" sldId="2076136555"/>
            <ac:graphicFrameMk id="6" creationId="{4670B68B-C169-4598-9D7B-959A9B94F129}"/>
          </ac:graphicFrameMkLst>
        </pc:graphicFrameChg>
      </pc:sldChg>
      <pc:sldChg chg="modSp add mod">
        <pc:chgData name="Marco Rocca" userId="8f0ba42f-40c7-46f4-9f3c-941e755a78e6" providerId="ADAL" clId="{350B89C3-F905-4F28-88FE-960FCFB6BC94}" dt="2020-06-04T09:09:58.011" v="468" actId="207"/>
        <pc:sldMkLst>
          <pc:docMk/>
          <pc:sldMk cId="4255263767" sldId="2076136556"/>
        </pc:sldMkLst>
        <pc:graphicFrameChg chg="modGraphic">
          <ac:chgData name="Marco Rocca" userId="8f0ba42f-40c7-46f4-9f3c-941e755a78e6" providerId="ADAL" clId="{350B89C3-F905-4F28-88FE-960FCFB6BC94}" dt="2020-06-04T09:09:58.011" v="468" actId="207"/>
          <ac:graphicFrameMkLst>
            <pc:docMk/>
            <pc:sldMk cId="4255263767" sldId="2076136556"/>
            <ac:graphicFrameMk id="10" creationId="{3FB56123-4357-4FBD-AB29-3A09BBB574A3}"/>
          </ac:graphicFrameMkLst>
        </pc:graphicFrameChg>
      </pc:sldChg>
      <pc:sldChg chg="modSp add mod">
        <pc:chgData name="Marco Rocca" userId="8f0ba42f-40c7-46f4-9f3c-941e755a78e6" providerId="ADAL" clId="{350B89C3-F905-4F28-88FE-960FCFB6BC94}" dt="2020-06-04T09:10:08.187" v="469" actId="207"/>
        <pc:sldMkLst>
          <pc:docMk/>
          <pc:sldMk cId="2607332720" sldId="2076136557"/>
        </pc:sldMkLst>
        <pc:spChg chg="mod">
          <ac:chgData name="Marco Rocca" userId="8f0ba42f-40c7-46f4-9f3c-941e755a78e6" providerId="ADAL" clId="{350B89C3-F905-4F28-88FE-960FCFB6BC94}" dt="2020-06-04T09:09:39.278" v="465" actId="27636"/>
          <ac:spMkLst>
            <pc:docMk/>
            <pc:sldMk cId="2607332720" sldId="2076136557"/>
            <ac:spMk id="2" creationId="{360AF822-9C40-4382-8A19-EC83DF629052}"/>
          </ac:spMkLst>
        </pc:spChg>
        <pc:graphicFrameChg chg="modGraphic">
          <ac:chgData name="Marco Rocca" userId="8f0ba42f-40c7-46f4-9f3c-941e755a78e6" providerId="ADAL" clId="{350B89C3-F905-4F28-88FE-960FCFB6BC94}" dt="2020-06-04T09:10:08.187" v="469" actId="207"/>
          <ac:graphicFrameMkLst>
            <pc:docMk/>
            <pc:sldMk cId="2607332720" sldId="2076136557"/>
            <ac:graphicFrameMk id="6" creationId="{149BBC4B-987B-4BEC-A1D3-7F67FC743A81}"/>
          </ac:graphicFrameMkLst>
        </pc:graphicFrameChg>
      </pc:sldChg>
      <pc:sldChg chg="modSp add mod">
        <pc:chgData name="Marco Rocca" userId="8f0ba42f-40c7-46f4-9f3c-941e755a78e6" providerId="ADAL" clId="{350B89C3-F905-4F28-88FE-960FCFB6BC94}" dt="2020-06-05T09:50:56.458" v="1144" actId="14100"/>
        <pc:sldMkLst>
          <pc:docMk/>
          <pc:sldMk cId="2085199343" sldId="2076136558"/>
        </pc:sldMkLst>
        <pc:spChg chg="mod">
          <ac:chgData name="Marco Rocca" userId="8f0ba42f-40c7-46f4-9f3c-941e755a78e6" providerId="ADAL" clId="{350B89C3-F905-4F28-88FE-960FCFB6BC94}" dt="2020-06-05T09:50:56.458" v="1144" actId="14100"/>
          <ac:spMkLst>
            <pc:docMk/>
            <pc:sldMk cId="2085199343" sldId="2076136558"/>
            <ac:spMk id="2" creationId="{99B1DD74-ECFF-4F6D-A99A-166E150EA5D9}"/>
          </ac:spMkLst>
        </pc:spChg>
      </pc:sldChg>
      <pc:sldChg chg="modSp add mod">
        <pc:chgData name="Marco Rocca" userId="8f0ba42f-40c7-46f4-9f3c-941e755a78e6" providerId="ADAL" clId="{350B89C3-F905-4F28-88FE-960FCFB6BC94}" dt="2020-06-05T09:50:51.920" v="1143" actId="255"/>
        <pc:sldMkLst>
          <pc:docMk/>
          <pc:sldMk cId="275745576" sldId="2076136559"/>
        </pc:sldMkLst>
        <pc:spChg chg="mod">
          <ac:chgData name="Marco Rocca" userId="8f0ba42f-40c7-46f4-9f3c-941e755a78e6" providerId="ADAL" clId="{350B89C3-F905-4F28-88FE-960FCFB6BC94}" dt="2020-06-05T09:50:51.920" v="1143" actId="255"/>
          <ac:spMkLst>
            <pc:docMk/>
            <pc:sldMk cId="275745576" sldId="2076136559"/>
            <ac:spMk id="3" creationId="{44D59EC8-41E7-4EB9-9A8E-9A4B4275C4A6}"/>
          </ac:spMkLst>
        </pc:spChg>
      </pc:sldChg>
      <pc:sldChg chg="modSp add mod ord">
        <pc:chgData name="Marco Rocca" userId="8f0ba42f-40c7-46f4-9f3c-941e755a78e6" providerId="ADAL" clId="{350B89C3-F905-4F28-88FE-960FCFB6BC94}" dt="2020-06-05T09:50:37.856" v="1140" actId="14100"/>
        <pc:sldMkLst>
          <pc:docMk/>
          <pc:sldMk cId="2230852389" sldId="2076136560"/>
        </pc:sldMkLst>
        <pc:spChg chg="mod">
          <ac:chgData name="Marco Rocca" userId="8f0ba42f-40c7-46f4-9f3c-941e755a78e6" providerId="ADAL" clId="{350B89C3-F905-4F28-88FE-960FCFB6BC94}" dt="2020-06-05T09:50:37.856" v="1140" actId="14100"/>
          <ac:spMkLst>
            <pc:docMk/>
            <pc:sldMk cId="2230852389" sldId="2076136560"/>
            <ac:spMk id="2" creationId="{99B1DD74-ECFF-4F6D-A99A-166E150EA5D9}"/>
          </ac:spMkLst>
        </pc:spChg>
      </pc:sldChg>
      <pc:sldChg chg="addSp modSp add del mod modAnim">
        <pc:chgData name="Marco Rocca" userId="8f0ba42f-40c7-46f4-9f3c-941e755a78e6" providerId="ADAL" clId="{350B89C3-F905-4F28-88FE-960FCFB6BC94}" dt="2020-06-04T15:24:21.967" v="519" actId="47"/>
        <pc:sldMkLst>
          <pc:docMk/>
          <pc:sldMk cId="2648510467" sldId="2076136560"/>
        </pc:sldMkLst>
        <pc:spChg chg="mod">
          <ac:chgData name="Marco Rocca" userId="8f0ba42f-40c7-46f4-9f3c-941e755a78e6" providerId="ADAL" clId="{350B89C3-F905-4F28-88FE-960FCFB6BC94}" dt="2020-06-04T15:21:05.973" v="488" actId="27636"/>
          <ac:spMkLst>
            <pc:docMk/>
            <pc:sldMk cId="2648510467" sldId="2076136560"/>
            <ac:spMk id="2" creationId="{CFB4FDC6-06D5-4BE5-8ABE-05EA07852923}"/>
          </ac:spMkLst>
        </pc:spChg>
        <pc:spChg chg="mod">
          <ac:chgData name="Marco Rocca" userId="8f0ba42f-40c7-46f4-9f3c-941e755a78e6" providerId="ADAL" clId="{350B89C3-F905-4F28-88FE-960FCFB6BC94}" dt="2020-06-04T15:22:06.929" v="510" actId="207"/>
          <ac:spMkLst>
            <pc:docMk/>
            <pc:sldMk cId="2648510467" sldId="2076136560"/>
            <ac:spMk id="3" creationId="{89158C8A-21F8-4114-9A4A-08C779167224}"/>
          </ac:spMkLst>
        </pc:spChg>
        <pc:spChg chg="mod">
          <ac:chgData name="Marco Rocca" userId="8f0ba42f-40c7-46f4-9f3c-941e755a78e6" providerId="ADAL" clId="{350B89C3-F905-4F28-88FE-960FCFB6BC94}" dt="2020-06-04T15:22:06.929" v="510" actId="207"/>
          <ac:spMkLst>
            <pc:docMk/>
            <pc:sldMk cId="2648510467" sldId="2076136560"/>
            <ac:spMk id="4" creationId="{71B29B15-233B-440E-A344-019C1BCD76BF}"/>
          </ac:spMkLst>
        </pc:spChg>
        <pc:spChg chg="mod">
          <ac:chgData name="Marco Rocca" userId="8f0ba42f-40c7-46f4-9f3c-941e755a78e6" providerId="ADAL" clId="{350B89C3-F905-4F28-88FE-960FCFB6BC94}" dt="2020-06-04T15:22:06.929" v="510" actId="207"/>
          <ac:spMkLst>
            <pc:docMk/>
            <pc:sldMk cId="2648510467" sldId="2076136560"/>
            <ac:spMk id="5" creationId="{8A2B2CC6-76F3-478F-86A8-18E6FFAAD5C0}"/>
          </ac:spMkLst>
        </pc:spChg>
        <pc:spChg chg="mod">
          <ac:chgData name="Marco Rocca" userId="8f0ba42f-40c7-46f4-9f3c-941e755a78e6" providerId="ADAL" clId="{350B89C3-F905-4F28-88FE-960FCFB6BC94}" dt="2020-06-04T15:22:06.929" v="510" actId="207"/>
          <ac:spMkLst>
            <pc:docMk/>
            <pc:sldMk cId="2648510467" sldId="2076136560"/>
            <ac:spMk id="6" creationId="{E0635FEE-B32A-4417-AC99-37F9C99A6D2F}"/>
          </ac:spMkLst>
        </pc:spChg>
        <pc:spChg chg="mod">
          <ac:chgData name="Marco Rocca" userId="8f0ba42f-40c7-46f4-9f3c-941e755a78e6" providerId="ADAL" clId="{350B89C3-F905-4F28-88FE-960FCFB6BC94}" dt="2020-06-04T15:22:06.929" v="510" actId="207"/>
          <ac:spMkLst>
            <pc:docMk/>
            <pc:sldMk cId="2648510467" sldId="2076136560"/>
            <ac:spMk id="7" creationId="{AC6C79E7-99D1-4A2A-AFB2-0B76732B0444}"/>
          </ac:spMkLst>
        </pc:spChg>
        <pc:spChg chg="mod">
          <ac:chgData name="Marco Rocca" userId="8f0ba42f-40c7-46f4-9f3c-941e755a78e6" providerId="ADAL" clId="{350B89C3-F905-4F28-88FE-960FCFB6BC94}" dt="2020-06-04T15:22:06.929" v="510" actId="207"/>
          <ac:spMkLst>
            <pc:docMk/>
            <pc:sldMk cId="2648510467" sldId="2076136560"/>
            <ac:spMk id="8" creationId="{E4554B48-2AE3-4B82-8EAF-F5D93A93A4D3}"/>
          </ac:spMkLst>
        </pc:spChg>
        <pc:spChg chg="mod">
          <ac:chgData name="Marco Rocca" userId="8f0ba42f-40c7-46f4-9f3c-941e755a78e6" providerId="ADAL" clId="{350B89C3-F905-4F28-88FE-960FCFB6BC94}" dt="2020-06-04T15:22:06.929" v="510" actId="207"/>
          <ac:spMkLst>
            <pc:docMk/>
            <pc:sldMk cId="2648510467" sldId="2076136560"/>
            <ac:spMk id="9" creationId="{70BE211B-AA79-4A40-99DC-88BABB9A0F76}"/>
          </ac:spMkLst>
        </pc:spChg>
        <pc:spChg chg="mod">
          <ac:chgData name="Marco Rocca" userId="8f0ba42f-40c7-46f4-9f3c-941e755a78e6" providerId="ADAL" clId="{350B89C3-F905-4F28-88FE-960FCFB6BC94}" dt="2020-06-04T15:22:06.929" v="510" actId="207"/>
          <ac:spMkLst>
            <pc:docMk/>
            <pc:sldMk cId="2648510467" sldId="2076136560"/>
            <ac:spMk id="10" creationId="{D2523114-5129-41BE-860C-C1BB6BEB70F5}"/>
          </ac:spMkLst>
        </pc:spChg>
        <pc:spChg chg="mod">
          <ac:chgData name="Marco Rocca" userId="8f0ba42f-40c7-46f4-9f3c-941e755a78e6" providerId="ADAL" clId="{350B89C3-F905-4F28-88FE-960FCFB6BC94}" dt="2020-06-04T15:22:06.929" v="510" actId="207"/>
          <ac:spMkLst>
            <pc:docMk/>
            <pc:sldMk cId="2648510467" sldId="2076136560"/>
            <ac:spMk id="11" creationId="{F1944C8D-F2CA-4739-8A34-1A5D1B69A638}"/>
          </ac:spMkLst>
        </pc:spChg>
        <pc:spChg chg="mod">
          <ac:chgData name="Marco Rocca" userId="8f0ba42f-40c7-46f4-9f3c-941e755a78e6" providerId="ADAL" clId="{350B89C3-F905-4F28-88FE-960FCFB6BC94}" dt="2020-06-04T15:22:06.929" v="510" actId="207"/>
          <ac:spMkLst>
            <pc:docMk/>
            <pc:sldMk cId="2648510467" sldId="2076136560"/>
            <ac:spMk id="12" creationId="{89C3F653-B4B1-405C-9CD4-02622BF142A5}"/>
          </ac:spMkLst>
        </pc:spChg>
        <pc:spChg chg="mod">
          <ac:chgData name="Marco Rocca" userId="8f0ba42f-40c7-46f4-9f3c-941e755a78e6" providerId="ADAL" clId="{350B89C3-F905-4F28-88FE-960FCFB6BC94}" dt="2020-06-04T15:22:06.929" v="510" actId="207"/>
          <ac:spMkLst>
            <pc:docMk/>
            <pc:sldMk cId="2648510467" sldId="2076136560"/>
            <ac:spMk id="13" creationId="{E3A02CE6-650E-443E-B558-3D5941945B86}"/>
          </ac:spMkLst>
        </pc:spChg>
        <pc:spChg chg="mod">
          <ac:chgData name="Marco Rocca" userId="8f0ba42f-40c7-46f4-9f3c-941e755a78e6" providerId="ADAL" clId="{350B89C3-F905-4F28-88FE-960FCFB6BC94}" dt="2020-06-04T15:22:06.929" v="510" actId="207"/>
          <ac:spMkLst>
            <pc:docMk/>
            <pc:sldMk cId="2648510467" sldId="2076136560"/>
            <ac:spMk id="14" creationId="{7BBCA43B-B17A-44B3-8379-BDD7632E130B}"/>
          </ac:spMkLst>
        </pc:spChg>
        <pc:spChg chg="mod">
          <ac:chgData name="Marco Rocca" userId="8f0ba42f-40c7-46f4-9f3c-941e755a78e6" providerId="ADAL" clId="{350B89C3-F905-4F28-88FE-960FCFB6BC94}" dt="2020-06-04T15:22:06.929" v="510" actId="207"/>
          <ac:spMkLst>
            <pc:docMk/>
            <pc:sldMk cId="2648510467" sldId="2076136560"/>
            <ac:spMk id="15" creationId="{BBE96E47-84CD-49F0-9B42-139B98992AE6}"/>
          </ac:spMkLst>
        </pc:spChg>
        <pc:spChg chg="mod">
          <ac:chgData name="Marco Rocca" userId="8f0ba42f-40c7-46f4-9f3c-941e755a78e6" providerId="ADAL" clId="{350B89C3-F905-4F28-88FE-960FCFB6BC94}" dt="2020-06-04T15:22:06.929" v="510" actId="207"/>
          <ac:spMkLst>
            <pc:docMk/>
            <pc:sldMk cId="2648510467" sldId="2076136560"/>
            <ac:spMk id="16" creationId="{E0D73C52-ACF4-45CA-8F70-BB1C7B5C2E51}"/>
          </ac:spMkLst>
        </pc:spChg>
        <pc:spChg chg="mod">
          <ac:chgData name="Marco Rocca" userId="8f0ba42f-40c7-46f4-9f3c-941e755a78e6" providerId="ADAL" clId="{350B89C3-F905-4F28-88FE-960FCFB6BC94}" dt="2020-06-04T15:22:06.929" v="510" actId="207"/>
          <ac:spMkLst>
            <pc:docMk/>
            <pc:sldMk cId="2648510467" sldId="2076136560"/>
            <ac:spMk id="17" creationId="{5D0641F1-A20C-40A9-A55E-2E38D684F714}"/>
          </ac:spMkLst>
        </pc:spChg>
        <pc:spChg chg="mod">
          <ac:chgData name="Marco Rocca" userId="8f0ba42f-40c7-46f4-9f3c-941e755a78e6" providerId="ADAL" clId="{350B89C3-F905-4F28-88FE-960FCFB6BC94}" dt="2020-06-04T15:22:06.929" v="510" actId="207"/>
          <ac:spMkLst>
            <pc:docMk/>
            <pc:sldMk cId="2648510467" sldId="2076136560"/>
            <ac:spMk id="18" creationId="{C1C43A83-318C-4B30-853A-62231EB5774F}"/>
          </ac:spMkLst>
        </pc:spChg>
        <pc:spChg chg="mod">
          <ac:chgData name="Marco Rocca" userId="8f0ba42f-40c7-46f4-9f3c-941e755a78e6" providerId="ADAL" clId="{350B89C3-F905-4F28-88FE-960FCFB6BC94}" dt="2020-06-04T15:22:06.929" v="510" actId="207"/>
          <ac:spMkLst>
            <pc:docMk/>
            <pc:sldMk cId="2648510467" sldId="2076136560"/>
            <ac:spMk id="19" creationId="{F8DAEADA-2B88-4375-869C-1EF3CA9A833F}"/>
          </ac:spMkLst>
        </pc:spChg>
        <pc:spChg chg="mod">
          <ac:chgData name="Marco Rocca" userId="8f0ba42f-40c7-46f4-9f3c-941e755a78e6" providerId="ADAL" clId="{350B89C3-F905-4F28-88FE-960FCFB6BC94}" dt="2020-06-04T15:22:06.929" v="510" actId="207"/>
          <ac:spMkLst>
            <pc:docMk/>
            <pc:sldMk cId="2648510467" sldId="2076136560"/>
            <ac:spMk id="21" creationId="{7DC93512-C003-417B-A030-FC2B7345D9DA}"/>
          </ac:spMkLst>
        </pc:spChg>
        <pc:spChg chg="add mod">
          <ac:chgData name="Marco Rocca" userId="8f0ba42f-40c7-46f4-9f3c-941e755a78e6" providerId="ADAL" clId="{350B89C3-F905-4F28-88FE-960FCFB6BC94}" dt="2020-06-04T15:22:06.929" v="510" actId="207"/>
          <ac:spMkLst>
            <pc:docMk/>
            <pc:sldMk cId="2648510467" sldId="2076136560"/>
            <ac:spMk id="22" creationId="{EBBAE0B4-F669-4323-9903-AFFDADA48A9F}"/>
          </ac:spMkLst>
        </pc:spChg>
        <pc:spChg chg="add mod">
          <ac:chgData name="Marco Rocca" userId="8f0ba42f-40c7-46f4-9f3c-941e755a78e6" providerId="ADAL" clId="{350B89C3-F905-4F28-88FE-960FCFB6BC94}" dt="2020-06-04T15:22:06.929" v="510" actId="207"/>
          <ac:spMkLst>
            <pc:docMk/>
            <pc:sldMk cId="2648510467" sldId="2076136560"/>
            <ac:spMk id="23" creationId="{47CC3636-C952-4D2C-9C99-C7EA57E8BA6F}"/>
          </ac:spMkLst>
        </pc:spChg>
        <pc:spChg chg="add mod">
          <ac:chgData name="Marco Rocca" userId="8f0ba42f-40c7-46f4-9f3c-941e755a78e6" providerId="ADAL" clId="{350B89C3-F905-4F28-88FE-960FCFB6BC94}" dt="2020-06-04T15:22:06.929" v="510" actId="207"/>
          <ac:spMkLst>
            <pc:docMk/>
            <pc:sldMk cId="2648510467" sldId="2076136560"/>
            <ac:spMk id="24" creationId="{24B72136-EF4E-48F0-B480-6109EAB970D1}"/>
          </ac:spMkLst>
        </pc:spChg>
        <pc:spChg chg="add mod">
          <ac:chgData name="Marco Rocca" userId="8f0ba42f-40c7-46f4-9f3c-941e755a78e6" providerId="ADAL" clId="{350B89C3-F905-4F28-88FE-960FCFB6BC94}" dt="2020-06-04T15:22:06.929" v="510" actId="207"/>
          <ac:spMkLst>
            <pc:docMk/>
            <pc:sldMk cId="2648510467" sldId="2076136560"/>
            <ac:spMk id="25" creationId="{BE672A34-1EEF-4700-9101-B40E9F6D38E7}"/>
          </ac:spMkLst>
        </pc:spChg>
        <pc:spChg chg="add mod">
          <ac:chgData name="Marco Rocca" userId="8f0ba42f-40c7-46f4-9f3c-941e755a78e6" providerId="ADAL" clId="{350B89C3-F905-4F28-88FE-960FCFB6BC94}" dt="2020-06-04T15:22:06.929" v="510" actId="207"/>
          <ac:spMkLst>
            <pc:docMk/>
            <pc:sldMk cId="2648510467" sldId="2076136560"/>
            <ac:spMk id="26" creationId="{3FCDCF9F-5EFD-4AEC-AE1C-F9A89479D26D}"/>
          </ac:spMkLst>
        </pc:spChg>
        <pc:spChg chg="add mod">
          <ac:chgData name="Marco Rocca" userId="8f0ba42f-40c7-46f4-9f3c-941e755a78e6" providerId="ADAL" clId="{350B89C3-F905-4F28-88FE-960FCFB6BC94}" dt="2020-06-04T15:22:06.929" v="510" actId="207"/>
          <ac:spMkLst>
            <pc:docMk/>
            <pc:sldMk cId="2648510467" sldId="2076136560"/>
            <ac:spMk id="27" creationId="{44D31D8F-1CCD-4C5E-9D89-62947C782C4E}"/>
          </ac:spMkLst>
        </pc:spChg>
        <pc:spChg chg="add mod">
          <ac:chgData name="Marco Rocca" userId="8f0ba42f-40c7-46f4-9f3c-941e755a78e6" providerId="ADAL" clId="{350B89C3-F905-4F28-88FE-960FCFB6BC94}" dt="2020-06-04T15:22:06.929" v="510" actId="207"/>
          <ac:spMkLst>
            <pc:docMk/>
            <pc:sldMk cId="2648510467" sldId="2076136560"/>
            <ac:spMk id="28" creationId="{DAF6394C-298E-4D19-A5FA-2F8B1D0A37F8}"/>
          </ac:spMkLst>
        </pc:spChg>
        <pc:spChg chg="add mod">
          <ac:chgData name="Marco Rocca" userId="8f0ba42f-40c7-46f4-9f3c-941e755a78e6" providerId="ADAL" clId="{350B89C3-F905-4F28-88FE-960FCFB6BC94}" dt="2020-06-04T15:22:06.929" v="510" actId="207"/>
          <ac:spMkLst>
            <pc:docMk/>
            <pc:sldMk cId="2648510467" sldId="2076136560"/>
            <ac:spMk id="29" creationId="{EA3960C9-F929-4C67-8D92-C6AA61DE19B6}"/>
          </ac:spMkLst>
        </pc:spChg>
      </pc:sldChg>
      <pc:sldChg chg="addSp delSp modSp add mod ord">
        <pc:chgData name="Marco Rocca" userId="8f0ba42f-40c7-46f4-9f3c-941e755a78e6" providerId="ADAL" clId="{350B89C3-F905-4F28-88FE-960FCFB6BC94}" dt="2020-06-05T09:50:33.591" v="1139" actId="14100"/>
        <pc:sldMkLst>
          <pc:docMk/>
          <pc:sldMk cId="256740991" sldId="2076136561"/>
        </pc:sldMkLst>
        <pc:spChg chg="mod">
          <ac:chgData name="Marco Rocca" userId="8f0ba42f-40c7-46f4-9f3c-941e755a78e6" providerId="ADAL" clId="{350B89C3-F905-4F28-88FE-960FCFB6BC94}" dt="2020-06-05T09:50:33.591" v="1139" actId="14100"/>
          <ac:spMkLst>
            <pc:docMk/>
            <pc:sldMk cId="256740991" sldId="2076136561"/>
            <ac:spMk id="2" creationId="{99B1DD74-ECFF-4F6D-A99A-166E150EA5D9}"/>
          </ac:spMkLst>
        </pc:spChg>
        <pc:spChg chg="mod">
          <ac:chgData name="Marco Rocca" userId="8f0ba42f-40c7-46f4-9f3c-941e755a78e6" providerId="ADAL" clId="{350B89C3-F905-4F28-88FE-960FCFB6BC94}" dt="2020-06-05T08:13:01.017" v="763" actId="20577"/>
          <ac:spMkLst>
            <pc:docMk/>
            <pc:sldMk cId="256740991" sldId="2076136561"/>
            <ac:spMk id="3" creationId="{397EFE3C-103F-468B-BBA2-1D8E61F543BB}"/>
          </ac:spMkLst>
        </pc:spChg>
        <pc:picChg chg="del">
          <ac:chgData name="Marco Rocca" userId="8f0ba42f-40c7-46f4-9f3c-941e755a78e6" providerId="ADAL" clId="{350B89C3-F905-4F28-88FE-960FCFB6BC94}" dt="2020-06-05T08:11:28.328" v="602" actId="478"/>
          <ac:picMkLst>
            <pc:docMk/>
            <pc:sldMk cId="256740991" sldId="2076136561"/>
            <ac:picMk id="5" creationId="{A4994E88-5FEF-4B24-B26F-8DDC2407691C}"/>
          </ac:picMkLst>
        </pc:picChg>
        <pc:picChg chg="add mod">
          <ac:chgData name="Marco Rocca" userId="8f0ba42f-40c7-46f4-9f3c-941e755a78e6" providerId="ADAL" clId="{350B89C3-F905-4F28-88FE-960FCFB6BC94}" dt="2020-06-05T08:15:29.913" v="771" actId="1076"/>
          <ac:picMkLst>
            <pc:docMk/>
            <pc:sldMk cId="256740991" sldId="2076136561"/>
            <ac:picMk id="6" creationId="{A48AF842-CFBA-4CC6-9F1F-4D788260BD40}"/>
          </ac:picMkLst>
        </pc:picChg>
        <pc:picChg chg="del">
          <ac:chgData name="Marco Rocca" userId="8f0ba42f-40c7-46f4-9f3c-941e755a78e6" providerId="ADAL" clId="{350B89C3-F905-4F28-88FE-960FCFB6BC94}" dt="2020-06-05T08:11:30.014" v="603" actId="478"/>
          <ac:picMkLst>
            <pc:docMk/>
            <pc:sldMk cId="256740991" sldId="2076136561"/>
            <ac:picMk id="7" creationId="{FE2D8F54-A407-4434-A125-0D5E215265A5}"/>
          </ac:picMkLst>
        </pc:picChg>
        <pc:picChg chg="add mod">
          <ac:chgData name="Marco Rocca" userId="8f0ba42f-40c7-46f4-9f3c-941e755a78e6" providerId="ADAL" clId="{350B89C3-F905-4F28-88FE-960FCFB6BC94}" dt="2020-06-05T08:15:32.892" v="772" actId="14100"/>
          <ac:picMkLst>
            <pc:docMk/>
            <pc:sldMk cId="256740991" sldId="2076136561"/>
            <ac:picMk id="9" creationId="{4C20E0FD-ECD3-4FC6-9C04-03177552E53D}"/>
          </ac:picMkLst>
        </pc:picChg>
      </pc:sldChg>
      <pc:sldChg chg="modSp add del mod">
        <pc:chgData name="Marco Rocca" userId="8f0ba42f-40c7-46f4-9f3c-941e755a78e6" providerId="ADAL" clId="{350B89C3-F905-4F28-88FE-960FCFB6BC94}" dt="2020-06-04T15:24:21.967" v="519" actId="47"/>
        <pc:sldMkLst>
          <pc:docMk/>
          <pc:sldMk cId="2151391840" sldId="2076136561"/>
        </pc:sldMkLst>
        <pc:spChg chg="mod">
          <ac:chgData name="Marco Rocca" userId="8f0ba42f-40c7-46f4-9f3c-941e755a78e6" providerId="ADAL" clId="{350B89C3-F905-4F28-88FE-960FCFB6BC94}" dt="2020-06-04T15:21:16.717" v="490" actId="1076"/>
          <ac:spMkLst>
            <pc:docMk/>
            <pc:sldMk cId="2151391840" sldId="2076136561"/>
            <ac:spMk id="2" creationId="{8B3CEA13-0094-4683-B383-57AE3873EAF9}"/>
          </ac:spMkLst>
        </pc:spChg>
        <pc:spChg chg="mod">
          <ac:chgData name="Marco Rocca" userId="8f0ba42f-40c7-46f4-9f3c-941e755a78e6" providerId="ADAL" clId="{350B89C3-F905-4F28-88FE-960FCFB6BC94}" dt="2020-06-04T15:22:44.381" v="514" actId="208"/>
          <ac:spMkLst>
            <pc:docMk/>
            <pc:sldMk cId="2151391840" sldId="2076136561"/>
            <ac:spMk id="17" creationId="{535F1112-3531-4217-93F4-3948D74BCE54}"/>
          </ac:spMkLst>
        </pc:spChg>
        <pc:spChg chg="mod">
          <ac:chgData name="Marco Rocca" userId="8f0ba42f-40c7-46f4-9f3c-941e755a78e6" providerId="ADAL" clId="{350B89C3-F905-4F28-88FE-960FCFB6BC94}" dt="2020-06-04T15:22:44.381" v="514" actId="208"/>
          <ac:spMkLst>
            <pc:docMk/>
            <pc:sldMk cId="2151391840" sldId="2076136561"/>
            <ac:spMk id="18" creationId="{4769BD95-E8E2-451F-B0EF-7F21F76E1A13}"/>
          </ac:spMkLst>
        </pc:spChg>
        <pc:spChg chg="mod">
          <ac:chgData name="Marco Rocca" userId="8f0ba42f-40c7-46f4-9f3c-941e755a78e6" providerId="ADAL" clId="{350B89C3-F905-4F28-88FE-960FCFB6BC94}" dt="2020-06-04T15:22:44.381" v="514" actId="208"/>
          <ac:spMkLst>
            <pc:docMk/>
            <pc:sldMk cId="2151391840" sldId="2076136561"/>
            <ac:spMk id="19" creationId="{A0470CED-2FB7-4677-8F86-08ADB7E8D17F}"/>
          </ac:spMkLst>
        </pc:spChg>
        <pc:spChg chg="mod">
          <ac:chgData name="Marco Rocca" userId="8f0ba42f-40c7-46f4-9f3c-941e755a78e6" providerId="ADAL" clId="{350B89C3-F905-4F28-88FE-960FCFB6BC94}" dt="2020-06-04T15:23:30.465" v="518" actId="208"/>
          <ac:spMkLst>
            <pc:docMk/>
            <pc:sldMk cId="2151391840" sldId="2076136561"/>
            <ac:spMk id="21" creationId="{B32D478F-D861-4CB3-8A90-8382E80C0D3A}"/>
          </ac:spMkLst>
        </pc:spChg>
        <pc:spChg chg="mod">
          <ac:chgData name="Marco Rocca" userId="8f0ba42f-40c7-46f4-9f3c-941e755a78e6" providerId="ADAL" clId="{350B89C3-F905-4F28-88FE-960FCFB6BC94}" dt="2020-06-04T15:23:30.465" v="518" actId="208"/>
          <ac:spMkLst>
            <pc:docMk/>
            <pc:sldMk cId="2151391840" sldId="2076136561"/>
            <ac:spMk id="22" creationId="{A68FE3D2-D11D-478D-BBDE-B68ABB5BFE09}"/>
          </ac:spMkLst>
        </pc:spChg>
        <pc:spChg chg="mod">
          <ac:chgData name="Marco Rocca" userId="8f0ba42f-40c7-46f4-9f3c-941e755a78e6" providerId="ADAL" clId="{350B89C3-F905-4F28-88FE-960FCFB6BC94}" dt="2020-06-04T15:23:30.465" v="518" actId="208"/>
          <ac:spMkLst>
            <pc:docMk/>
            <pc:sldMk cId="2151391840" sldId="2076136561"/>
            <ac:spMk id="23" creationId="{A13CFBAF-567E-4BA9-BA86-0255F66A5AB1}"/>
          </ac:spMkLst>
        </pc:spChg>
        <pc:spChg chg="mod">
          <ac:chgData name="Marco Rocca" userId="8f0ba42f-40c7-46f4-9f3c-941e755a78e6" providerId="ADAL" clId="{350B89C3-F905-4F28-88FE-960FCFB6BC94}" dt="2020-06-04T15:23:21.086" v="516" actId="208"/>
          <ac:spMkLst>
            <pc:docMk/>
            <pc:sldMk cId="2151391840" sldId="2076136561"/>
            <ac:spMk id="45" creationId="{B8C46E0F-E432-46DA-AF8C-92526E157EDE}"/>
          </ac:spMkLst>
        </pc:spChg>
        <pc:spChg chg="mod">
          <ac:chgData name="Marco Rocca" userId="8f0ba42f-40c7-46f4-9f3c-941e755a78e6" providerId="ADAL" clId="{350B89C3-F905-4F28-88FE-960FCFB6BC94}" dt="2020-06-04T15:23:21.086" v="516" actId="208"/>
          <ac:spMkLst>
            <pc:docMk/>
            <pc:sldMk cId="2151391840" sldId="2076136561"/>
            <ac:spMk id="46" creationId="{744AACEA-6532-403F-BC31-0936E116D0DC}"/>
          </ac:spMkLst>
        </pc:spChg>
        <pc:spChg chg="mod">
          <ac:chgData name="Marco Rocca" userId="8f0ba42f-40c7-46f4-9f3c-941e755a78e6" providerId="ADAL" clId="{350B89C3-F905-4F28-88FE-960FCFB6BC94}" dt="2020-06-04T15:23:21.086" v="516" actId="208"/>
          <ac:spMkLst>
            <pc:docMk/>
            <pc:sldMk cId="2151391840" sldId="2076136561"/>
            <ac:spMk id="47" creationId="{B39FB455-7867-4F58-A829-19FFDD8DA464}"/>
          </ac:spMkLst>
        </pc:spChg>
        <pc:spChg chg="mod">
          <ac:chgData name="Marco Rocca" userId="8f0ba42f-40c7-46f4-9f3c-941e755a78e6" providerId="ADAL" clId="{350B89C3-F905-4F28-88FE-960FCFB6BC94}" dt="2020-06-04T15:23:21.086" v="516" actId="208"/>
          <ac:spMkLst>
            <pc:docMk/>
            <pc:sldMk cId="2151391840" sldId="2076136561"/>
            <ac:spMk id="81" creationId="{75E755C1-8E94-4032-A6C4-5D2A30AB2CD5}"/>
          </ac:spMkLst>
        </pc:spChg>
        <pc:spChg chg="mod">
          <ac:chgData name="Marco Rocca" userId="8f0ba42f-40c7-46f4-9f3c-941e755a78e6" providerId="ADAL" clId="{350B89C3-F905-4F28-88FE-960FCFB6BC94}" dt="2020-06-04T15:23:21.086" v="516" actId="208"/>
          <ac:spMkLst>
            <pc:docMk/>
            <pc:sldMk cId="2151391840" sldId="2076136561"/>
            <ac:spMk id="82" creationId="{991C3B8B-1B59-45A3-BB34-3F15B25FD621}"/>
          </ac:spMkLst>
        </pc:spChg>
        <pc:spChg chg="mod">
          <ac:chgData name="Marco Rocca" userId="8f0ba42f-40c7-46f4-9f3c-941e755a78e6" providerId="ADAL" clId="{350B89C3-F905-4F28-88FE-960FCFB6BC94}" dt="2020-06-04T15:23:21.086" v="516" actId="208"/>
          <ac:spMkLst>
            <pc:docMk/>
            <pc:sldMk cId="2151391840" sldId="2076136561"/>
            <ac:spMk id="83" creationId="{2B56A35C-5A12-4BF8-9903-BBD41F5D7792}"/>
          </ac:spMkLst>
        </pc:spChg>
        <pc:spChg chg="mod">
          <ac:chgData name="Marco Rocca" userId="8f0ba42f-40c7-46f4-9f3c-941e755a78e6" providerId="ADAL" clId="{350B89C3-F905-4F28-88FE-960FCFB6BC94}" dt="2020-06-04T15:23:21.086" v="516" actId="208"/>
          <ac:spMkLst>
            <pc:docMk/>
            <pc:sldMk cId="2151391840" sldId="2076136561"/>
            <ac:spMk id="85" creationId="{A431E696-EFB3-482D-8BCE-93BEF899E74D}"/>
          </ac:spMkLst>
        </pc:spChg>
        <pc:spChg chg="mod">
          <ac:chgData name="Marco Rocca" userId="8f0ba42f-40c7-46f4-9f3c-941e755a78e6" providerId="ADAL" clId="{350B89C3-F905-4F28-88FE-960FCFB6BC94}" dt="2020-06-04T15:23:21.086" v="516" actId="208"/>
          <ac:spMkLst>
            <pc:docMk/>
            <pc:sldMk cId="2151391840" sldId="2076136561"/>
            <ac:spMk id="86" creationId="{FF6A1AD7-DCFD-4A3C-BA17-FFC747F8B93F}"/>
          </ac:spMkLst>
        </pc:spChg>
        <pc:spChg chg="mod">
          <ac:chgData name="Marco Rocca" userId="8f0ba42f-40c7-46f4-9f3c-941e755a78e6" providerId="ADAL" clId="{350B89C3-F905-4F28-88FE-960FCFB6BC94}" dt="2020-06-04T15:23:21.086" v="516" actId="208"/>
          <ac:spMkLst>
            <pc:docMk/>
            <pc:sldMk cId="2151391840" sldId="2076136561"/>
            <ac:spMk id="87" creationId="{C4FFC20F-803A-46C0-9508-CCB85443B36C}"/>
          </ac:spMkLst>
        </pc:spChg>
        <pc:grpChg chg="mod">
          <ac:chgData name="Marco Rocca" userId="8f0ba42f-40c7-46f4-9f3c-941e755a78e6" providerId="ADAL" clId="{350B89C3-F905-4F28-88FE-960FCFB6BC94}" dt="2020-06-04T15:22:23.368" v="512" actId="207"/>
          <ac:grpSpMkLst>
            <pc:docMk/>
            <pc:sldMk cId="2151391840" sldId="2076136561"/>
            <ac:grpSpMk id="4" creationId="{8C32259F-1DEB-4F09-95DC-60183F1D9265}"/>
          </ac:grpSpMkLst>
        </pc:grpChg>
        <pc:grpChg chg="mod">
          <ac:chgData name="Marco Rocca" userId="8f0ba42f-40c7-46f4-9f3c-941e755a78e6" providerId="ADAL" clId="{350B89C3-F905-4F28-88FE-960FCFB6BC94}" dt="2020-06-04T15:22:37.982" v="513" actId="207"/>
          <ac:grpSpMkLst>
            <pc:docMk/>
            <pc:sldMk cId="2151391840" sldId="2076136561"/>
            <ac:grpSpMk id="8" creationId="{7983BF51-124E-4E34-A895-468D8CB95319}"/>
          </ac:grpSpMkLst>
        </pc:grpChg>
        <pc:grpChg chg="mod">
          <ac:chgData name="Marco Rocca" userId="8f0ba42f-40c7-46f4-9f3c-941e755a78e6" providerId="ADAL" clId="{350B89C3-F905-4F28-88FE-960FCFB6BC94}" dt="2020-06-04T15:22:37.982" v="513" actId="207"/>
          <ac:grpSpMkLst>
            <pc:docMk/>
            <pc:sldMk cId="2151391840" sldId="2076136561"/>
            <ac:grpSpMk id="12" creationId="{B978548B-D703-4CDD-9FCA-AB992F3B8356}"/>
          </ac:grpSpMkLst>
        </pc:grpChg>
        <pc:grpChg chg="mod">
          <ac:chgData name="Marco Rocca" userId="8f0ba42f-40c7-46f4-9f3c-941e755a78e6" providerId="ADAL" clId="{350B89C3-F905-4F28-88FE-960FCFB6BC94}" dt="2020-06-04T15:23:26.305" v="517" actId="207"/>
          <ac:grpSpMkLst>
            <pc:docMk/>
            <pc:sldMk cId="2151391840" sldId="2076136561"/>
            <ac:grpSpMk id="20" creationId="{06085997-A223-49B7-822C-61B771A31992}"/>
          </ac:grpSpMkLst>
        </pc:grpChg>
        <pc:grpChg chg="mod">
          <ac:chgData name="Marco Rocca" userId="8f0ba42f-40c7-46f4-9f3c-941e755a78e6" providerId="ADAL" clId="{350B89C3-F905-4F28-88FE-960FCFB6BC94}" dt="2020-06-04T15:23:08.886" v="515" actId="207"/>
          <ac:grpSpMkLst>
            <pc:docMk/>
            <pc:sldMk cId="2151391840" sldId="2076136561"/>
            <ac:grpSpMk id="24" creationId="{79CC8081-BD48-4CB7-8662-88B7DE947683}"/>
          </ac:grpSpMkLst>
        </pc:grpChg>
        <pc:grpChg chg="mod">
          <ac:chgData name="Marco Rocca" userId="8f0ba42f-40c7-46f4-9f3c-941e755a78e6" providerId="ADAL" clId="{350B89C3-F905-4F28-88FE-960FCFB6BC94}" dt="2020-06-04T15:23:08.886" v="515" actId="207"/>
          <ac:grpSpMkLst>
            <pc:docMk/>
            <pc:sldMk cId="2151391840" sldId="2076136561"/>
            <ac:grpSpMk id="28" creationId="{01107CAB-791A-4329-8CA5-DD87F5C00083}"/>
          </ac:grpSpMkLst>
        </pc:grpChg>
        <pc:grpChg chg="mod">
          <ac:chgData name="Marco Rocca" userId="8f0ba42f-40c7-46f4-9f3c-941e755a78e6" providerId="ADAL" clId="{350B89C3-F905-4F28-88FE-960FCFB6BC94}" dt="2020-06-04T15:23:08.886" v="515" actId="207"/>
          <ac:grpSpMkLst>
            <pc:docMk/>
            <pc:sldMk cId="2151391840" sldId="2076136561"/>
            <ac:grpSpMk id="32" creationId="{1BA92D21-83F2-4C61-BB05-60722A57D7EA}"/>
          </ac:grpSpMkLst>
        </pc:grpChg>
        <pc:grpChg chg="mod">
          <ac:chgData name="Marco Rocca" userId="8f0ba42f-40c7-46f4-9f3c-941e755a78e6" providerId="ADAL" clId="{350B89C3-F905-4F28-88FE-960FCFB6BC94}" dt="2020-06-04T15:23:08.886" v="515" actId="207"/>
          <ac:grpSpMkLst>
            <pc:docMk/>
            <pc:sldMk cId="2151391840" sldId="2076136561"/>
            <ac:grpSpMk id="36" creationId="{18711121-68A0-4740-8DAB-4D1E170A6175}"/>
          </ac:grpSpMkLst>
        </pc:grpChg>
        <pc:grpChg chg="mod">
          <ac:chgData name="Marco Rocca" userId="8f0ba42f-40c7-46f4-9f3c-941e755a78e6" providerId="ADAL" clId="{350B89C3-F905-4F28-88FE-960FCFB6BC94}" dt="2020-06-04T15:23:08.886" v="515" actId="207"/>
          <ac:grpSpMkLst>
            <pc:docMk/>
            <pc:sldMk cId="2151391840" sldId="2076136561"/>
            <ac:grpSpMk id="40" creationId="{2707C2E2-15E7-407B-8E27-ED26019F9A77}"/>
          </ac:grpSpMkLst>
        </pc:grpChg>
        <pc:grpChg chg="mod">
          <ac:chgData name="Marco Rocca" userId="8f0ba42f-40c7-46f4-9f3c-941e755a78e6" providerId="ADAL" clId="{350B89C3-F905-4F28-88FE-960FCFB6BC94}" dt="2020-06-04T15:22:37.982" v="513" actId="207"/>
          <ac:grpSpMkLst>
            <pc:docMk/>
            <pc:sldMk cId="2151391840" sldId="2076136561"/>
            <ac:grpSpMk id="48" creationId="{ADB72A61-0843-4BCD-9523-5964223770FB}"/>
          </ac:grpSpMkLst>
        </pc:grpChg>
        <pc:grpChg chg="mod">
          <ac:chgData name="Marco Rocca" userId="8f0ba42f-40c7-46f4-9f3c-941e755a78e6" providerId="ADAL" clId="{350B89C3-F905-4F28-88FE-960FCFB6BC94}" dt="2020-06-04T15:22:37.982" v="513" actId="207"/>
          <ac:grpSpMkLst>
            <pc:docMk/>
            <pc:sldMk cId="2151391840" sldId="2076136561"/>
            <ac:grpSpMk id="52" creationId="{793ECBFC-600B-427C-A415-91E30F63D172}"/>
          </ac:grpSpMkLst>
        </pc:grpChg>
        <pc:grpChg chg="mod">
          <ac:chgData name="Marco Rocca" userId="8f0ba42f-40c7-46f4-9f3c-941e755a78e6" providerId="ADAL" clId="{350B89C3-F905-4F28-88FE-960FCFB6BC94}" dt="2020-06-04T15:22:37.982" v="513" actId="207"/>
          <ac:grpSpMkLst>
            <pc:docMk/>
            <pc:sldMk cId="2151391840" sldId="2076136561"/>
            <ac:grpSpMk id="56" creationId="{6D4F9E08-13E5-47BF-937D-876530893661}"/>
          </ac:grpSpMkLst>
        </pc:grpChg>
        <pc:grpChg chg="mod">
          <ac:chgData name="Marco Rocca" userId="8f0ba42f-40c7-46f4-9f3c-941e755a78e6" providerId="ADAL" clId="{350B89C3-F905-4F28-88FE-960FCFB6BC94}" dt="2020-06-04T15:23:08.886" v="515" actId="207"/>
          <ac:grpSpMkLst>
            <pc:docMk/>
            <pc:sldMk cId="2151391840" sldId="2076136561"/>
            <ac:grpSpMk id="60" creationId="{0710C126-0B3C-4DB4-8B5E-955F5BFFD2A5}"/>
          </ac:grpSpMkLst>
        </pc:grpChg>
        <pc:grpChg chg="mod">
          <ac:chgData name="Marco Rocca" userId="8f0ba42f-40c7-46f4-9f3c-941e755a78e6" providerId="ADAL" clId="{350B89C3-F905-4F28-88FE-960FCFB6BC94}" dt="2020-06-04T15:23:08.886" v="515" actId="207"/>
          <ac:grpSpMkLst>
            <pc:docMk/>
            <pc:sldMk cId="2151391840" sldId="2076136561"/>
            <ac:grpSpMk id="64" creationId="{42F74045-E4D8-4A0E-B153-81472A4B9FD3}"/>
          </ac:grpSpMkLst>
        </pc:grpChg>
        <pc:grpChg chg="mod">
          <ac:chgData name="Marco Rocca" userId="8f0ba42f-40c7-46f4-9f3c-941e755a78e6" providerId="ADAL" clId="{350B89C3-F905-4F28-88FE-960FCFB6BC94}" dt="2020-06-04T15:23:08.886" v="515" actId="207"/>
          <ac:grpSpMkLst>
            <pc:docMk/>
            <pc:sldMk cId="2151391840" sldId="2076136561"/>
            <ac:grpSpMk id="68" creationId="{E827B841-6488-4916-A656-6D64DBA2FFF2}"/>
          </ac:grpSpMkLst>
        </pc:grpChg>
        <pc:grpChg chg="mod">
          <ac:chgData name="Marco Rocca" userId="8f0ba42f-40c7-46f4-9f3c-941e755a78e6" providerId="ADAL" clId="{350B89C3-F905-4F28-88FE-960FCFB6BC94}" dt="2020-06-04T15:23:08.886" v="515" actId="207"/>
          <ac:grpSpMkLst>
            <pc:docMk/>
            <pc:sldMk cId="2151391840" sldId="2076136561"/>
            <ac:grpSpMk id="72" creationId="{310D93CB-2C49-4307-A22B-319D0E1C11ED}"/>
          </ac:grpSpMkLst>
        </pc:grpChg>
        <pc:grpChg chg="mod">
          <ac:chgData name="Marco Rocca" userId="8f0ba42f-40c7-46f4-9f3c-941e755a78e6" providerId="ADAL" clId="{350B89C3-F905-4F28-88FE-960FCFB6BC94}" dt="2020-06-04T15:23:08.886" v="515" actId="207"/>
          <ac:grpSpMkLst>
            <pc:docMk/>
            <pc:sldMk cId="2151391840" sldId="2076136561"/>
            <ac:grpSpMk id="76" creationId="{E3560CE9-6734-4BD0-A5A4-5BE48BD62FBC}"/>
          </ac:grpSpMkLst>
        </pc:grpChg>
        <pc:grpChg chg="mod">
          <ac:chgData name="Marco Rocca" userId="8f0ba42f-40c7-46f4-9f3c-941e755a78e6" providerId="ADAL" clId="{350B89C3-F905-4F28-88FE-960FCFB6BC94}" dt="2020-06-04T15:23:08.886" v="515" actId="207"/>
          <ac:grpSpMkLst>
            <pc:docMk/>
            <pc:sldMk cId="2151391840" sldId="2076136561"/>
            <ac:grpSpMk id="88" creationId="{C5A3A153-E383-495C-8208-C90735F181D8}"/>
          </ac:grpSpMkLst>
        </pc:grpChg>
        <pc:graphicFrameChg chg="mod modGraphic">
          <ac:chgData name="Marco Rocca" userId="8f0ba42f-40c7-46f4-9f3c-941e755a78e6" providerId="ADAL" clId="{350B89C3-F905-4F28-88FE-960FCFB6BC94}" dt="2020-06-04T15:22:37.982" v="513" actId="207"/>
          <ac:graphicFrameMkLst>
            <pc:docMk/>
            <pc:sldMk cId="2151391840" sldId="2076136561"/>
            <ac:graphicFrameMk id="3" creationId="{F5A05E0E-682F-423E-985F-8E499C294F06}"/>
          </ac:graphicFrameMkLst>
        </pc:graphicFrameChg>
      </pc:sldChg>
      <pc:sldChg chg="modSp add del mod">
        <pc:chgData name="Marco Rocca" userId="8f0ba42f-40c7-46f4-9f3c-941e755a78e6" providerId="ADAL" clId="{350B89C3-F905-4F28-88FE-960FCFB6BC94}" dt="2020-06-04T15:24:21.967" v="519" actId="47"/>
        <pc:sldMkLst>
          <pc:docMk/>
          <pc:sldMk cId="2655135814" sldId="2076136562"/>
        </pc:sldMkLst>
        <pc:spChg chg="mod">
          <ac:chgData name="Marco Rocca" userId="8f0ba42f-40c7-46f4-9f3c-941e755a78e6" providerId="ADAL" clId="{350B89C3-F905-4F28-88FE-960FCFB6BC94}" dt="2020-06-04T15:21:45.713" v="494" actId="1076"/>
          <ac:spMkLst>
            <pc:docMk/>
            <pc:sldMk cId="2655135814" sldId="2076136562"/>
            <ac:spMk id="2" creationId="{8B3CEA13-0094-4683-B383-57AE3873EAF9}"/>
          </ac:spMkLst>
        </pc:spChg>
        <pc:grpChg chg="mod">
          <ac:chgData name="Marco Rocca" userId="8f0ba42f-40c7-46f4-9f3c-941e755a78e6" providerId="ADAL" clId="{350B89C3-F905-4F28-88FE-960FCFB6BC94}" dt="2020-06-04T15:21:40.542" v="493" actId="1076"/>
          <ac:grpSpMkLst>
            <pc:docMk/>
            <pc:sldMk cId="2655135814" sldId="2076136562"/>
            <ac:grpSpMk id="95" creationId="{D008DC23-3566-49CA-8001-8AE02880AA1F}"/>
          </ac:grpSpMkLst>
        </pc:grpChg>
        <pc:grpChg chg="mod">
          <ac:chgData name="Marco Rocca" userId="8f0ba42f-40c7-46f4-9f3c-941e755a78e6" providerId="ADAL" clId="{350B89C3-F905-4F28-88FE-960FCFB6BC94}" dt="2020-06-04T15:21:40.542" v="493" actId="1076"/>
          <ac:grpSpMkLst>
            <pc:docMk/>
            <pc:sldMk cId="2655135814" sldId="2076136562"/>
            <ac:grpSpMk id="99" creationId="{629277F8-7C88-40F6-BBBB-4A8D6066A8E0}"/>
          </ac:grpSpMkLst>
        </pc:grpChg>
        <pc:grpChg chg="mod">
          <ac:chgData name="Marco Rocca" userId="8f0ba42f-40c7-46f4-9f3c-941e755a78e6" providerId="ADAL" clId="{350B89C3-F905-4F28-88FE-960FCFB6BC94}" dt="2020-06-04T15:21:40.542" v="493" actId="1076"/>
          <ac:grpSpMkLst>
            <pc:docMk/>
            <pc:sldMk cId="2655135814" sldId="2076136562"/>
            <ac:grpSpMk id="103" creationId="{71CBE3B7-AD38-44D7-AC8F-CBA370927639}"/>
          </ac:grpSpMkLst>
        </pc:grpChg>
        <pc:grpChg chg="mod">
          <ac:chgData name="Marco Rocca" userId="8f0ba42f-40c7-46f4-9f3c-941e755a78e6" providerId="ADAL" clId="{350B89C3-F905-4F28-88FE-960FCFB6BC94}" dt="2020-06-04T15:21:40.542" v="493" actId="1076"/>
          <ac:grpSpMkLst>
            <pc:docMk/>
            <pc:sldMk cId="2655135814" sldId="2076136562"/>
            <ac:grpSpMk id="107" creationId="{BF990705-DA34-4F0B-BBB7-C645970655FD}"/>
          </ac:grpSpMkLst>
        </pc:grpChg>
        <pc:grpChg chg="mod">
          <ac:chgData name="Marco Rocca" userId="8f0ba42f-40c7-46f4-9f3c-941e755a78e6" providerId="ADAL" clId="{350B89C3-F905-4F28-88FE-960FCFB6BC94}" dt="2020-06-04T15:21:40.542" v="493" actId="1076"/>
          <ac:grpSpMkLst>
            <pc:docMk/>
            <pc:sldMk cId="2655135814" sldId="2076136562"/>
            <ac:grpSpMk id="111" creationId="{51E9177C-C8D9-4D11-9B98-850FD0B08D39}"/>
          </ac:grpSpMkLst>
        </pc:grpChg>
        <pc:grpChg chg="mod">
          <ac:chgData name="Marco Rocca" userId="8f0ba42f-40c7-46f4-9f3c-941e755a78e6" providerId="ADAL" clId="{350B89C3-F905-4F28-88FE-960FCFB6BC94}" dt="2020-06-04T15:21:40.542" v="493" actId="1076"/>
          <ac:grpSpMkLst>
            <pc:docMk/>
            <pc:sldMk cId="2655135814" sldId="2076136562"/>
            <ac:grpSpMk id="115" creationId="{AEE04780-D56C-4564-A90A-0BA0C95ACC83}"/>
          </ac:grpSpMkLst>
        </pc:grpChg>
        <pc:grpChg chg="mod">
          <ac:chgData name="Marco Rocca" userId="8f0ba42f-40c7-46f4-9f3c-941e755a78e6" providerId="ADAL" clId="{350B89C3-F905-4F28-88FE-960FCFB6BC94}" dt="2020-06-04T15:21:40.542" v="493" actId="1076"/>
          <ac:grpSpMkLst>
            <pc:docMk/>
            <pc:sldMk cId="2655135814" sldId="2076136562"/>
            <ac:grpSpMk id="119" creationId="{6472D37E-506B-4D8A-B7D2-4D53961BFC06}"/>
          </ac:grpSpMkLst>
        </pc:grpChg>
        <pc:grpChg chg="mod">
          <ac:chgData name="Marco Rocca" userId="8f0ba42f-40c7-46f4-9f3c-941e755a78e6" providerId="ADAL" clId="{350B89C3-F905-4F28-88FE-960FCFB6BC94}" dt="2020-06-04T15:21:40.542" v="493" actId="1076"/>
          <ac:grpSpMkLst>
            <pc:docMk/>
            <pc:sldMk cId="2655135814" sldId="2076136562"/>
            <ac:grpSpMk id="123" creationId="{2C524B9D-BD6F-4267-9D72-25521FB929C3}"/>
          </ac:grpSpMkLst>
        </pc:grpChg>
        <pc:grpChg chg="mod">
          <ac:chgData name="Marco Rocca" userId="8f0ba42f-40c7-46f4-9f3c-941e755a78e6" providerId="ADAL" clId="{350B89C3-F905-4F28-88FE-960FCFB6BC94}" dt="2020-06-04T15:21:40.542" v="493" actId="1076"/>
          <ac:grpSpMkLst>
            <pc:docMk/>
            <pc:sldMk cId="2655135814" sldId="2076136562"/>
            <ac:grpSpMk id="127" creationId="{8A2CFA7D-72BD-4D37-9AE8-8B192F2476AB}"/>
          </ac:grpSpMkLst>
        </pc:grpChg>
        <pc:grpChg chg="mod">
          <ac:chgData name="Marco Rocca" userId="8f0ba42f-40c7-46f4-9f3c-941e755a78e6" providerId="ADAL" clId="{350B89C3-F905-4F28-88FE-960FCFB6BC94}" dt="2020-06-04T15:21:40.542" v="493" actId="1076"/>
          <ac:grpSpMkLst>
            <pc:docMk/>
            <pc:sldMk cId="2655135814" sldId="2076136562"/>
            <ac:grpSpMk id="131" creationId="{EE0026D4-E45D-4EB2-99B3-C362AF10D01B}"/>
          </ac:grpSpMkLst>
        </pc:grpChg>
        <pc:grpChg chg="mod">
          <ac:chgData name="Marco Rocca" userId="8f0ba42f-40c7-46f4-9f3c-941e755a78e6" providerId="ADAL" clId="{350B89C3-F905-4F28-88FE-960FCFB6BC94}" dt="2020-06-04T15:21:40.542" v="493" actId="1076"/>
          <ac:grpSpMkLst>
            <pc:docMk/>
            <pc:sldMk cId="2655135814" sldId="2076136562"/>
            <ac:grpSpMk id="135" creationId="{58EE1A46-1CC3-4619-AA80-EA6CEDE6EC27}"/>
          </ac:grpSpMkLst>
        </pc:grpChg>
        <pc:grpChg chg="mod">
          <ac:chgData name="Marco Rocca" userId="8f0ba42f-40c7-46f4-9f3c-941e755a78e6" providerId="ADAL" clId="{350B89C3-F905-4F28-88FE-960FCFB6BC94}" dt="2020-06-04T15:21:40.542" v="493" actId="1076"/>
          <ac:grpSpMkLst>
            <pc:docMk/>
            <pc:sldMk cId="2655135814" sldId="2076136562"/>
            <ac:grpSpMk id="139" creationId="{EF69D260-AA85-4E5F-83EB-A1A9053388FD}"/>
          </ac:grpSpMkLst>
        </pc:grpChg>
        <pc:grpChg chg="mod">
          <ac:chgData name="Marco Rocca" userId="8f0ba42f-40c7-46f4-9f3c-941e755a78e6" providerId="ADAL" clId="{350B89C3-F905-4F28-88FE-960FCFB6BC94}" dt="2020-06-04T15:21:40.542" v="493" actId="1076"/>
          <ac:grpSpMkLst>
            <pc:docMk/>
            <pc:sldMk cId="2655135814" sldId="2076136562"/>
            <ac:grpSpMk id="143" creationId="{ABB8E481-77A6-4E71-822B-C035923802EF}"/>
          </ac:grpSpMkLst>
        </pc:grpChg>
        <pc:grpChg chg="mod">
          <ac:chgData name="Marco Rocca" userId="8f0ba42f-40c7-46f4-9f3c-941e755a78e6" providerId="ADAL" clId="{350B89C3-F905-4F28-88FE-960FCFB6BC94}" dt="2020-06-04T15:21:40.542" v="493" actId="1076"/>
          <ac:grpSpMkLst>
            <pc:docMk/>
            <pc:sldMk cId="2655135814" sldId="2076136562"/>
            <ac:grpSpMk id="147" creationId="{C1CC8E47-0AC5-43F5-A938-E44BE790369F}"/>
          </ac:grpSpMkLst>
        </pc:grpChg>
        <pc:graphicFrameChg chg="mod">
          <ac:chgData name="Marco Rocca" userId="8f0ba42f-40c7-46f4-9f3c-941e755a78e6" providerId="ADAL" clId="{350B89C3-F905-4F28-88FE-960FCFB6BC94}" dt="2020-06-04T15:21:40.542" v="493" actId="1076"/>
          <ac:graphicFrameMkLst>
            <pc:docMk/>
            <pc:sldMk cId="2655135814" sldId="2076136562"/>
            <ac:graphicFrameMk id="3" creationId="{F5A05E0E-682F-423E-985F-8E499C294F06}"/>
          </ac:graphicFrameMkLst>
        </pc:graphicFrameChg>
      </pc:sldChg>
      <pc:sldChg chg="modSp add mod">
        <pc:chgData name="Marco Rocca" userId="8f0ba42f-40c7-46f4-9f3c-941e755a78e6" providerId="ADAL" clId="{350B89C3-F905-4F28-88FE-960FCFB6BC94}" dt="2020-06-04T15:42:00.056" v="572" actId="20577"/>
        <pc:sldMkLst>
          <pc:docMk/>
          <pc:sldMk cId="3840096657" sldId="2076136562"/>
        </pc:sldMkLst>
        <pc:spChg chg="mod">
          <ac:chgData name="Marco Rocca" userId="8f0ba42f-40c7-46f4-9f3c-941e755a78e6" providerId="ADAL" clId="{350B89C3-F905-4F28-88FE-960FCFB6BC94}" dt="2020-06-04T15:42:00.056" v="572" actId="20577"/>
          <ac:spMkLst>
            <pc:docMk/>
            <pc:sldMk cId="3840096657" sldId="2076136562"/>
            <ac:spMk id="2" creationId="{FC89DFBB-D276-4E89-8498-5913199BC53E}"/>
          </ac:spMkLst>
        </pc:spChg>
        <pc:spChg chg="mod">
          <ac:chgData name="Marco Rocca" userId="8f0ba42f-40c7-46f4-9f3c-941e755a78e6" providerId="ADAL" clId="{350B89C3-F905-4F28-88FE-960FCFB6BC94}" dt="2020-06-04T15:40:40.262" v="554" actId="207"/>
          <ac:spMkLst>
            <pc:docMk/>
            <pc:sldMk cId="3840096657" sldId="2076136562"/>
            <ac:spMk id="4" creationId="{6BB3C0F9-B01E-43B2-BF05-7FC9C79E27D0}"/>
          </ac:spMkLst>
        </pc:spChg>
        <pc:spChg chg="mod">
          <ac:chgData name="Marco Rocca" userId="8f0ba42f-40c7-46f4-9f3c-941e755a78e6" providerId="ADAL" clId="{350B89C3-F905-4F28-88FE-960FCFB6BC94}" dt="2020-06-04T15:40:48.676" v="556" actId="207"/>
          <ac:spMkLst>
            <pc:docMk/>
            <pc:sldMk cId="3840096657" sldId="2076136562"/>
            <ac:spMk id="5" creationId="{8455273C-9DF8-4455-AC74-9C5218398190}"/>
          </ac:spMkLst>
        </pc:spChg>
        <pc:spChg chg="mod">
          <ac:chgData name="Marco Rocca" userId="8f0ba42f-40c7-46f4-9f3c-941e755a78e6" providerId="ADAL" clId="{350B89C3-F905-4F28-88FE-960FCFB6BC94}" dt="2020-06-04T15:40:44.209" v="555" actId="207"/>
          <ac:spMkLst>
            <pc:docMk/>
            <pc:sldMk cId="3840096657" sldId="2076136562"/>
            <ac:spMk id="6" creationId="{727359B8-2F66-48D5-98AF-1ECAB670DD4F}"/>
          </ac:spMkLst>
        </pc:spChg>
        <pc:spChg chg="mod">
          <ac:chgData name="Marco Rocca" userId="8f0ba42f-40c7-46f4-9f3c-941e755a78e6" providerId="ADAL" clId="{350B89C3-F905-4F28-88FE-960FCFB6BC94}" dt="2020-06-04T15:40:53.024" v="557" actId="207"/>
          <ac:spMkLst>
            <pc:docMk/>
            <pc:sldMk cId="3840096657" sldId="2076136562"/>
            <ac:spMk id="7" creationId="{7033D403-4945-41EB-ADD6-ABF43B36B541}"/>
          </ac:spMkLst>
        </pc:spChg>
        <pc:spChg chg="mod">
          <ac:chgData name="Marco Rocca" userId="8f0ba42f-40c7-46f4-9f3c-941e755a78e6" providerId="ADAL" clId="{350B89C3-F905-4F28-88FE-960FCFB6BC94}" dt="2020-06-04T15:40:35.530" v="553" actId="207"/>
          <ac:spMkLst>
            <pc:docMk/>
            <pc:sldMk cId="3840096657" sldId="2076136562"/>
            <ac:spMk id="8" creationId="{E8DCB644-F992-41E4-BB33-DCA669CDEAD2}"/>
          </ac:spMkLst>
        </pc:spChg>
        <pc:spChg chg="mod">
          <ac:chgData name="Marco Rocca" userId="8f0ba42f-40c7-46f4-9f3c-941e755a78e6" providerId="ADAL" clId="{350B89C3-F905-4F28-88FE-960FCFB6BC94}" dt="2020-06-04T15:41:00.005" v="558" actId="207"/>
          <ac:spMkLst>
            <pc:docMk/>
            <pc:sldMk cId="3840096657" sldId="2076136562"/>
            <ac:spMk id="9" creationId="{C0FB8FF3-9155-456F-95F5-E01B41ADB6D3}"/>
          </ac:spMkLst>
        </pc:spChg>
        <pc:grpChg chg="mod">
          <ac:chgData name="Marco Rocca" userId="8f0ba42f-40c7-46f4-9f3c-941e755a78e6" providerId="ADAL" clId="{350B89C3-F905-4F28-88FE-960FCFB6BC94}" dt="2020-06-04T15:40:28.416" v="552" actId="1076"/>
          <ac:grpSpMkLst>
            <pc:docMk/>
            <pc:sldMk cId="3840096657" sldId="2076136562"/>
            <ac:grpSpMk id="14" creationId="{B036AF16-CFA9-4A5C-81E8-C2B94F6D173D}"/>
          </ac:grpSpMkLst>
        </pc:grpChg>
      </pc:sldChg>
      <pc:sldChg chg="add del">
        <pc:chgData name="Marco Rocca" userId="8f0ba42f-40c7-46f4-9f3c-941e755a78e6" providerId="ADAL" clId="{350B89C3-F905-4F28-88FE-960FCFB6BC94}" dt="2020-06-04T15:24:21.967" v="519" actId="47"/>
        <pc:sldMkLst>
          <pc:docMk/>
          <pc:sldMk cId="733660274" sldId="2076136563"/>
        </pc:sldMkLst>
      </pc:sldChg>
      <pc:sldChg chg="modSp add mod modNotesTx">
        <pc:chgData name="Marco Rocca" userId="8f0ba42f-40c7-46f4-9f3c-941e755a78e6" providerId="ADAL" clId="{350B89C3-F905-4F28-88FE-960FCFB6BC94}" dt="2020-06-05T09:50:29.543" v="1138" actId="14100"/>
        <pc:sldMkLst>
          <pc:docMk/>
          <pc:sldMk cId="3166563262" sldId="2076136563"/>
        </pc:sldMkLst>
        <pc:spChg chg="mod">
          <ac:chgData name="Marco Rocca" userId="8f0ba42f-40c7-46f4-9f3c-941e755a78e6" providerId="ADAL" clId="{350B89C3-F905-4F28-88FE-960FCFB6BC94}" dt="2020-06-05T09:50:29.543" v="1138" actId="14100"/>
          <ac:spMkLst>
            <pc:docMk/>
            <pc:sldMk cId="3166563262" sldId="2076136563"/>
            <ac:spMk id="2" creationId="{99B1DD74-ECFF-4F6D-A99A-166E150EA5D9}"/>
          </ac:spMkLst>
        </pc:spChg>
      </pc:sldChg>
      <pc:sldChg chg="add del">
        <pc:chgData name="Marco Rocca" userId="8f0ba42f-40c7-46f4-9f3c-941e755a78e6" providerId="ADAL" clId="{350B89C3-F905-4F28-88FE-960FCFB6BC94}" dt="2020-06-04T15:24:21.967" v="519" actId="47"/>
        <pc:sldMkLst>
          <pc:docMk/>
          <pc:sldMk cId="2521569076" sldId="2076136564"/>
        </pc:sldMkLst>
      </pc:sldChg>
      <pc:sldChg chg="addSp modSp add mod">
        <pc:chgData name="Marco Rocca" userId="8f0ba42f-40c7-46f4-9f3c-941e755a78e6" providerId="ADAL" clId="{350B89C3-F905-4F28-88FE-960FCFB6BC94}" dt="2020-06-05T09:50:04.948" v="1132" actId="14100"/>
        <pc:sldMkLst>
          <pc:docMk/>
          <pc:sldMk cId="3982248493" sldId="2076136564"/>
        </pc:sldMkLst>
        <pc:spChg chg="mod">
          <ac:chgData name="Marco Rocca" userId="8f0ba42f-40c7-46f4-9f3c-941e755a78e6" providerId="ADAL" clId="{350B89C3-F905-4F28-88FE-960FCFB6BC94}" dt="2020-06-05T09:50:04.948" v="1132" actId="14100"/>
          <ac:spMkLst>
            <pc:docMk/>
            <pc:sldMk cId="3982248493" sldId="2076136564"/>
            <ac:spMk id="2" creationId="{99B1DD74-ECFF-4F6D-A99A-166E150EA5D9}"/>
          </ac:spMkLst>
        </pc:spChg>
        <pc:spChg chg="mod">
          <ac:chgData name="Marco Rocca" userId="8f0ba42f-40c7-46f4-9f3c-941e755a78e6" providerId="ADAL" clId="{350B89C3-F905-4F28-88FE-960FCFB6BC94}" dt="2020-06-05T09:42:30.983" v="1092" actId="20577"/>
          <ac:spMkLst>
            <pc:docMk/>
            <pc:sldMk cId="3982248493" sldId="2076136564"/>
            <ac:spMk id="3" creationId="{397EFE3C-103F-468B-BBA2-1D8E61F543BB}"/>
          </ac:spMkLst>
        </pc:spChg>
        <pc:picChg chg="add mod">
          <ac:chgData name="Marco Rocca" userId="8f0ba42f-40c7-46f4-9f3c-941e755a78e6" providerId="ADAL" clId="{350B89C3-F905-4F28-88FE-960FCFB6BC94}" dt="2020-06-05T09:42:34.061" v="1093" actId="1076"/>
          <ac:picMkLst>
            <pc:docMk/>
            <pc:sldMk cId="3982248493" sldId="2076136564"/>
            <ac:picMk id="5" creationId="{0E28D616-0ACF-40CC-8ACD-69582FBA26AF}"/>
          </ac:picMkLst>
        </pc:picChg>
        <pc:picChg chg="add mod">
          <ac:chgData name="Marco Rocca" userId="8f0ba42f-40c7-46f4-9f3c-941e755a78e6" providerId="ADAL" clId="{350B89C3-F905-4F28-88FE-960FCFB6BC94}" dt="2020-06-05T09:43:12.475" v="1099" actId="1076"/>
          <ac:picMkLst>
            <pc:docMk/>
            <pc:sldMk cId="3982248493" sldId="2076136564"/>
            <ac:picMk id="7" creationId="{5469921A-6787-41F4-893A-0492055C6344}"/>
          </ac:picMkLst>
        </pc:picChg>
      </pc:sldChg>
      <pc:sldChg chg="addSp modSp add mod ord">
        <pc:chgData name="Marco Rocca" userId="8f0ba42f-40c7-46f4-9f3c-941e755a78e6" providerId="ADAL" clId="{350B89C3-F905-4F28-88FE-960FCFB6BC94}" dt="2020-06-05T09:50:12.501" v="1134" actId="14100"/>
        <pc:sldMkLst>
          <pc:docMk/>
          <pc:sldMk cId="1161887290" sldId="2076136565"/>
        </pc:sldMkLst>
        <pc:spChg chg="mod">
          <ac:chgData name="Marco Rocca" userId="8f0ba42f-40c7-46f4-9f3c-941e755a78e6" providerId="ADAL" clId="{350B89C3-F905-4F28-88FE-960FCFB6BC94}" dt="2020-06-05T09:50:12.501" v="1134" actId="14100"/>
          <ac:spMkLst>
            <pc:docMk/>
            <pc:sldMk cId="1161887290" sldId="2076136565"/>
            <ac:spMk id="2" creationId="{99B1DD74-ECFF-4F6D-A99A-166E150EA5D9}"/>
          </ac:spMkLst>
        </pc:spChg>
        <pc:spChg chg="mod">
          <ac:chgData name="Marco Rocca" userId="8f0ba42f-40c7-46f4-9f3c-941e755a78e6" providerId="ADAL" clId="{350B89C3-F905-4F28-88FE-960FCFB6BC94}" dt="2020-06-05T08:55:54.440" v="912"/>
          <ac:spMkLst>
            <pc:docMk/>
            <pc:sldMk cId="1161887290" sldId="2076136565"/>
            <ac:spMk id="3" creationId="{397EFE3C-103F-468B-BBA2-1D8E61F543BB}"/>
          </ac:spMkLst>
        </pc:spChg>
        <pc:picChg chg="add mod">
          <ac:chgData name="Marco Rocca" userId="8f0ba42f-40c7-46f4-9f3c-941e755a78e6" providerId="ADAL" clId="{350B89C3-F905-4F28-88FE-960FCFB6BC94}" dt="2020-06-05T08:55:40.892" v="909" actId="1076"/>
          <ac:picMkLst>
            <pc:docMk/>
            <pc:sldMk cId="1161887290" sldId="2076136565"/>
            <ac:picMk id="5" creationId="{2C7896A5-7F04-455A-8309-1439854A3AA9}"/>
          </ac:picMkLst>
        </pc:picChg>
      </pc:sldChg>
      <pc:sldChg chg="delSp modSp add mod">
        <pc:chgData name="Marco Rocca" userId="8f0ba42f-40c7-46f4-9f3c-941e755a78e6" providerId="ADAL" clId="{350B89C3-F905-4F28-88FE-960FCFB6BC94}" dt="2020-06-05T09:50:08.459" v="1133" actId="14100"/>
        <pc:sldMkLst>
          <pc:docMk/>
          <pc:sldMk cId="3149406003" sldId="2076136566"/>
        </pc:sldMkLst>
        <pc:spChg chg="mod">
          <ac:chgData name="Marco Rocca" userId="8f0ba42f-40c7-46f4-9f3c-941e755a78e6" providerId="ADAL" clId="{350B89C3-F905-4F28-88FE-960FCFB6BC94}" dt="2020-06-05T09:50:08.459" v="1133" actId="14100"/>
          <ac:spMkLst>
            <pc:docMk/>
            <pc:sldMk cId="3149406003" sldId="2076136566"/>
            <ac:spMk id="2" creationId="{99B1DD74-ECFF-4F6D-A99A-166E150EA5D9}"/>
          </ac:spMkLst>
        </pc:spChg>
        <pc:spChg chg="mod">
          <ac:chgData name="Marco Rocca" userId="8f0ba42f-40c7-46f4-9f3c-941e755a78e6" providerId="ADAL" clId="{350B89C3-F905-4F28-88FE-960FCFB6BC94}" dt="2020-06-05T09:10:01.269" v="934" actId="5793"/>
          <ac:spMkLst>
            <pc:docMk/>
            <pc:sldMk cId="3149406003" sldId="2076136566"/>
            <ac:spMk id="3" creationId="{397EFE3C-103F-468B-BBA2-1D8E61F543BB}"/>
          </ac:spMkLst>
        </pc:spChg>
        <pc:picChg chg="del">
          <ac:chgData name="Marco Rocca" userId="8f0ba42f-40c7-46f4-9f3c-941e755a78e6" providerId="ADAL" clId="{350B89C3-F905-4F28-88FE-960FCFB6BC94}" dt="2020-06-05T09:09:33.517" v="926" actId="478"/>
          <ac:picMkLst>
            <pc:docMk/>
            <pc:sldMk cId="3149406003" sldId="2076136566"/>
            <ac:picMk id="5" creationId="{2C7896A5-7F04-455A-8309-1439854A3AA9}"/>
          </ac:picMkLst>
        </pc:picChg>
      </pc:sldChg>
      <pc:sldChg chg="modSp add mod ord">
        <pc:chgData name="Marco Rocca" userId="8f0ba42f-40c7-46f4-9f3c-941e755a78e6" providerId="ADAL" clId="{350B89C3-F905-4F28-88FE-960FCFB6BC94}" dt="2020-06-05T09:54:27.931" v="1179" actId="113"/>
        <pc:sldMkLst>
          <pc:docMk/>
          <pc:sldMk cId="4245619757" sldId="2076136567"/>
        </pc:sldMkLst>
        <pc:spChg chg="mod">
          <ac:chgData name="Marco Rocca" userId="8f0ba42f-40c7-46f4-9f3c-941e755a78e6" providerId="ADAL" clId="{350B89C3-F905-4F28-88FE-960FCFB6BC94}" dt="2020-06-05T09:53:09.277" v="1164" actId="1076"/>
          <ac:spMkLst>
            <pc:docMk/>
            <pc:sldMk cId="4245619757" sldId="2076136567"/>
            <ac:spMk id="2" creationId="{99B1DD74-ECFF-4F6D-A99A-166E150EA5D9}"/>
          </ac:spMkLst>
        </pc:spChg>
        <pc:spChg chg="mod">
          <ac:chgData name="Marco Rocca" userId="8f0ba42f-40c7-46f4-9f3c-941e755a78e6" providerId="ADAL" clId="{350B89C3-F905-4F28-88FE-960FCFB6BC94}" dt="2020-06-05T09:54:27.931" v="1179" actId="113"/>
          <ac:spMkLst>
            <pc:docMk/>
            <pc:sldMk cId="4245619757" sldId="2076136567"/>
            <ac:spMk id="3" creationId="{397EFE3C-103F-468B-BBA2-1D8E61F543BB}"/>
          </ac:spMkLst>
        </pc:spChg>
      </pc:sldChg>
      <pc:sldChg chg="modSp add mod">
        <pc:chgData name="Marco Rocca" userId="8f0ba42f-40c7-46f4-9f3c-941e755a78e6" providerId="ADAL" clId="{350B89C3-F905-4F28-88FE-960FCFB6BC94}" dt="2020-06-05T09:56:31.155" v="1242" actId="5793"/>
        <pc:sldMkLst>
          <pc:docMk/>
          <pc:sldMk cId="2761402525" sldId="2076136568"/>
        </pc:sldMkLst>
        <pc:spChg chg="mod">
          <ac:chgData name="Marco Rocca" userId="8f0ba42f-40c7-46f4-9f3c-941e755a78e6" providerId="ADAL" clId="{350B89C3-F905-4F28-88FE-960FCFB6BC94}" dt="2020-06-05T09:56:31.155" v="1242" actId="5793"/>
          <ac:spMkLst>
            <pc:docMk/>
            <pc:sldMk cId="2761402525" sldId="2076136568"/>
            <ac:spMk id="2" creationId="{99B1DD74-ECFF-4F6D-A99A-166E150EA5D9}"/>
          </ac:spMkLst>
        </pc:spChg>
      </pc:sldChg>
      <pc:sldMasterChg chg="addSldLayout delSldLayout modSldLayout">
        <pc:chgData name="Marco Rocca" userId="8f0ba42f-40c7-46f4-9f3c-941e755a78e6" providerId="ADAL" clId="{350B89C3-F905-4F28-88FE-960FCFB6BC94}" dt="2020-06-04T15:40:26.704" v="550" actId="22"/>
        <pc:sldMasterMkLst>
          <pc:docMk/>
          <pc:sldMasterMk cId="37023887" sldId="2147483686"/>
        </pc:sldMasterMkLst>
        <pc:sldLayoutChg chg="del">
          <pc:chgData name="Marco Rocca" userId="8f0ba42f-40c7-46f4-9f3c-941e755a78e6" providerId="ADAL" clId="{350B89C3-F905-4F28-88FE-960FCFB6BC94}" dt="2020-06-03T07:20:17.713" v="1" actId="2696"/>
          <pc:sldLayoutMkLst>
            <pc:docMk/>
            <pc:sldMasterMk cId="37023887" sldId="2147483686"/>
            <pc:sldLayoutMk cId="686128027" sldId="2147483701"/>
          </pc:sldLayoutMkLst>
        </pc:sldLayoutChg>
        <pc:sldLayoutChg chg="setBg">
          <pc:chgData name="Marco Rocca" userId="8f0ba42f-40c7-46f4-9f3c-941e755a78e6" providerId="ADAL" clId="{350B89C3-F905-4F28-88FE-960FCFB6BC94}" dt="2020-06-01T23:24:49.298" v="0"/>
          <pc:sldLayoutMkLst>
            <pc:docMk/>
            <pc:sldMasterMk cId="37023887" sldId="2147483686"/>
            <pc:sldLayoutMk cId="1803709514" sldId="2147483702"/>
          </pc:sldLayoutMkLst>
        </pc:sldLayoutChg>
        <pc:sldLayoutChg chg="del">
          <pc:chgData name="Marco Rocca" userId="8f0ba42f-40c7-46f4-9f3c-941e755a78e6" providerId="ADAL" clId="{350B89C3-F905-4F28-88FE-960FCFB6BC94}" dt="2020-06-04T09:09:43.194" v="466" actId="2696"/>
          <pc:sldLayoutMkLst>
            <pc:docMk/>
            <pc:sldMasterMk cId="37023887" sldId="2147483686"/>
            <pc:sldLayoutMk cId="1374761839" sldId="2147483704"/>
          </pc:sldLayoutMkLst>
        </pc:sldLayoutChg>
        <pc:sldLayoutChg chg="add">
          <pc:chgData name="Marco Rocca" userId="8f0ba42f-40c7-46f4-9f3c-941e755a78e6" providerId="ADAL" clId="{350B89C3-F905-4F28-88FE-960FCFB6BC94}" dt="2020-06-04T15:40:26.704" v="550" actId="22"/>
          <pc:sldLayoutMkLst>
            <pc:docMk/>
            <pc:sldMasterMk cId="37023887" sldId="2147483686"/>
            <pc:sldLayoutMk cId="1847451806" sldId="2147483706"/>
          </pc:sldLayoutMkLst>
        </pc:sldLayoutChg>
      </pc:sldMasterChg>
    </pc:docChg>
  </pc:docChgLst>
  <pc:docChgLst>
    <pc:chgData name="Amber Weise" userId="3ca30e27-9a99-4c36-a22b-2cf2c031f50a" providerId="ADAL" clId="{7895E413-C6E4-4A18-B668-BC62446A4681}"/>
    <pc:docChg chg="undo custSel delSld modSld modSection">
      <pc:chgData name="Amber Weise" userId="3ca30e27-9a99-4c36-a22b-2cf2c031f50a" providerId="ADAL" clId="{7895E413-C6E4-4A18-B668-BC62446A4681}" dt="2019-11-26T15:28:30.181" v="165" actId="47"/>
      <pc:docMkLst>
        <pc:docMk/>
      </pc:docMkLst>
      <pc:sldChg chg="del">
        <pc:chgData name="Amber Weise" userId="3ca30e27-9a99-4c36-a22b-2cf2c031f50a" providerId="ADAL" clId="{7895E413-C6E4-4A18-B668-BC62446A4681}" dt="2019-11-26T15:28:30.181" v="165" actId="47"/>
        <pc:sldMkLst>
          <pc:docMk/>
          <pc:sldMk cId="2341839947" sldId="265"/>
        </pc:sldMkLst>
      </pc:sldChg>
      <pc:sldChg chg="addSp modSp mod modNotesTx">
        <pc:chgData name="Amber Weise" userId="3ca30e27-9a99-4c36-a22b-2cf2c031f50a" providerId="ADAL" clId="{7895E413-C6E4-4A18-B668-BC62446A4681}" dt="2019-11-26T15:24:16.962" v="139" actId="207"/>
        <pc:sldMkLst>
          <pc:docMk/>
          <pc:sldMk cId="1083707648" sldId="297"/>
        </pc:sldMkLst>
        <pc:spChg chg="mod">
          <ac:chgData name="Amber Weise" userId="3ca30e27-9a99-4c36-a22b-2cf2c031f50a" providerId="ADAL" clId="{7895E413-C6E4-4A18-B668-BC62446A4681}" dt="2019-11-26T15:09:12.536" v="5" actId="20577"/>
          <ac:spMkLst>
            <pc:docMk/>
            <pc:sldMk cId="1083707648" sldId="297"/>
            <ac:spMk id="2" creationId="{99B1DD74-ECFF-4F6D-A99A-166E150EA5D9}"/>
          </ac:spMkLst>
        </pc:spChg>
        <pc:spChg chg="mod">
          <ac:chgData name="Amber Weise" userId="3ca30e27-9a99-4c36-a22b-2cf2c031f50a" providerId="ADAL" clId="{7895E413-C6E4-4A18-B668-BC62446A4681}" dt="2019-11-26T15:20:55.220" v="49" actId="1076"/>
          <ac:spMkLst>
            <pc:docMk/>
            <pc:sldMk cId="1083707648" sldId="297"/>
            <ac:spMk id="3" creationId="{397EFE3C-103F-468B-BBA2-1D8E61F543BB}"/>
          </ac:spMkLst>
        </pc:spChg>
        <pc:graphicFrameChg chg="modGraphic">
          <ac:chgData name="Amber Weise" userId="3ca30e27-9a99-4c36-a22b-2cf2c031f50a" providerId="ADAL" clId="{7895E413-C6E4-4A18-B668-BC62446A4681}" dt="2019-11-26T15:24:16.962" v="139" actId="207"/>
          <ac:graphicFrameMkLst>
            <pc:docMk/>
            <pc:sldMk cId="1083707648" sldId="297"/>
            <ac:graphicFrameMk id="6" creationId="{113F84CF-5A00-4CEB-AA51-F83919B6FDC5}"/>
          </ac:graphicFrameMkLst>
        </pc:graphicFrameChg>
        <pc:picChg chg="add mod">
          <ac:chgData name="Amber Weise" userId="3ca30e27-9a99-4c36-a22b-2cf2c031f50a" providerId="ADAL" clId="{7895E413-C6E4-4A18-B668-BC62446A4681}" dt="2019-11-26T15:20:50.658" v="48" actId="1076"/>
          <ac:picMkLst>
            <pc:docMk/>
            <pc:sldMk cId="1083707648" sldId="297"/>
            <ac:picMk id="8" creationId="{AA94A2E5-7566-4FB2-B61B-1236B7CFB0ED}"/>
          </ac:picMkLst>
        </pc:picChg>
        <pc:cxnChg chg="add mod">
          <ac:chgData name="Amber Weise" userId="3ca30e27-9a99-4c36-a22b-2cf2c031f50a" providerId="ADAL" clId="{7895E413-C6E4-4A18-B668-BC62446A4681}" dt="2019-11-26T15:23:49.721" v="136" actId="208"/>
          <ac:cxnSpMkLst>
            <pc:docMk/>
            <pc:sldMk cId="1083707648" sldId="297"/>
            <ac:cxnSpMk id="5" creationId="{070BBEBC-359B-41BD-A401-405FC9CC0C76}"/>
          </ac:cxnSpMkLst>
        </pc:cxnChg>
      </pc:sldChg>
      <pc:sldChg chg="addSp modSp mod">
        <pc:chgData name="Amber Weise" userId="3ca30e27-9a99-4c36-a22b-2cf2c031f50a" providerId="ADAL" clId="{7895E413-C6E4-4A18-B668-BC62446A4681}" dt="2019-11-26T15:24:49.027" v="141" actId="1076"/>
        <pc:sldMkLst>
          <pc:docMk/>
          <pc:sldMk cId="3622939285" sldId="299"/>
        </pc:sldMkLst>
        <pc:spChg chg="mod">
          <ac:chgData name="Amber Weise" userId="3ca30e27-9a99-4c36-a22b-2cf2c031f50a" providerId="ADAL" clId="{7895E413-C6E4-4A18-B668-BC62446A4681}" dt="2019-11-26T15:22:22.976" v="100" actId="20577"/>
          <ac:spMkLst>
            <pc:docMk/>
            <pc:sldMk cId="3622939285" sldId="299"/>
            <ac:spMk id="2" creationId="{99B1DD74-ECFF-4F6D-A99A-166E150EA5D9}"/>
          </ac:spMkLst>
        </pc:spChg>
        <pc:spChg chg="mod">
          <ac:chgData name="Amber Weise" userId="3ca30e27-9a99-4c36-a22b-2cf2c031f50a" providerId="ADAL" clId="{7895E413-C6E4-4A18-B668-BC62446A4681}" dt="2019-11-26T15:23:16.224" v="133" actId="14100"/>
          <ac:spMkLst>
            <pc:docMk/>
            <pc:sldMk cId="3622939285" sldId="299"/>
            <ac:spMk id="3" creationId="{397EFE3C-103F-468B-BBA2-1D8E61F543BB}"/>
          </ac:spMkLst>
        </pc:spChg>
        <pc:picChg chg="add mod ord">
          <ac:chgData name="Amber Weise" userId="3ca30e27-9a99-4c36-a22b-2cf2c031f50a" providerId="ADAL" clId="{7895E413-C6E4-4A18-B668-BC62446A4681}" dt="2019-11-26T15:24:49.027" v="141" actId="1076"/>
          <ac:picMkLst>
            <pc:docMk/>
            <pc:sldMk cId="3622939285" sldId="299"/>
            <ac:picMk id="5" creationId="{EC4CC73D-F0F1-4ADF-966C-F6CD46D9651F}"/>
          </ac:picMkLst>
        </pc:picChg>
      </pc:sldChg>
      <pc:sldChg chg="modSp mod">
        <pc:chgData name="Amber Weise" userId="3ca30e27-9a99-4c36-a22b-2cf2c031f50a" providerId="ADAL" clId="{7895E413-C6E4-4A18-B668-BC62446A4681}" dt="2019-11-26T15:26:25.147" v="164" actId="1076"/>
        <pc:sldMkLst>
          <pc:docMk/>
          <pc:sldMk cId="3763808021" sldId="301"/>
        </pc:sldMkLst>
        <pc:spChg chg="mod">
          <ac:chgData name="Amber Weise" userId="3ca30e27-9a99-4c36-a22b-2cf2c031f50a" providerId="ADAL" clId="{7895E413-C6E4-4A18-B668-BC62446A4681}" dt="2019-11-26T15:25:38.770" v="150" actId="14100"/>
          <ac:spMkLst>
            <pc:docMk/>
            <pc:sldMk cId="3763808021" sldId="301"/>
            <ac:spMk id="4" creationId="{4EE232EA-E27C-451B-9E3A-3EEBE73DA9FB}"/>
          </ac:spMkLst>
        </pc:spChg>
        <pc:spChg chg="mod">
          <ac:chgData name="Amber Weise" userId="3ca30e27-9a99-4c36-a22b-2cf2c031f50a" providerId="ADAL" clId="{7895E413-C6E4-4A18-B668-BC62446A4681}" dt="2019-11-26T15:26:25.147" v="164" actId="1076"/>
          <ac:spMkLst>
            <pc:docMk/>
            <pc:sldMk cId="3763808021" sldId="301"/>
            <ac:spMk id="5" creationId="{E68422C6-26B7-4472-85B1-C284CD83482E}"/>
          </ac:spMkLst>
        </pc:spChg>
        <pc:spChg chg="mod">
          <ac:chgData name="Amber Weise" userId="3ca30e27-9a99-4c36-a22b-2cf2c031f50a" providerId="ADAL" clId="{7895E413-C6E4-4A18-B668-BC62446A4681}" dt="2019-11-26T15:25:31.804" v="148" actId="14100"/>
          <ac:spMkLst>
            <pc:docMk/>
            <pc:sldMk cId="3763808021" sldId="301"/>
            <ac:spMk id="6" creationId="{46A04A56-E5CA-49AE-AF46-C53C3632F840}"/>
          </ac:spMkLst>
        </pc:spChg>
        <pc:spChg chg="mod">
          <ac:chgData name="Amber Weise" userId="3ca30e27-9a99-4c36-a22b-2cf2c031f50a" providerId="ADAL" clId="{7895E413-C6E4-4A18-B668-BC62446A4681}" dt="2019-11-26T15:26:15.860" v="162" actId="14100"/>
          <ac:spMkLst>
            <pc:docMk/>
            <pc:sldMk cId="3763808021" sldId="301"/>
            <ac:spMk id="11" creationId="{46C9647A-B221-44BE-88E4-7F2A94AA0726}"/>
          </ac:spMkLst>
        </pc:spChg>
        <pc:picChg chg="mod">
          <ac:chgData name="Amber Weise" userId="3ca30e27-9a99-4c36-a22b-2cf2c031f50a" providerId="ADAL" clId="{7895E413-C6E4-4A18-B668-BC62446A4681}" dt="2019-11-26T15:25:42.935" v="152" actId="1076"/>
          <ac:picMkLst>
            <pc:docMk/>
            <pc:sldMk cId="3763808021" sldId="301"/>
            <ac:picMk id="7" creationId="{AE3CEA5B-725E-4F5B-A3FC-C730CDAC030E}"/>
          </ac:picMkLst>
        </pc:picChg>
        <pc:picChg chg="mod">
          <ac:chgData name="Amber Weise" userId="3ca30e27-9a99-4c36-a22b-2cf2c031f50a" providerId="ADAL" clId="{7895E413-C6E4-4A18-B668-BC62446A4681}" dt="2019-11-26T15:26:00.278" v="158" actId="14100"/>
          <ac:picMkLst>
            <pc:docMk/>
            <pc:sldMk cId="3763808021" sldId="301"/>
            <ac:picMk id="8" creationId="{0FD0A5A4-DAE8-4673-9F06-83B3BD76DD05}"/>
          </ac:picMkLst>
        </pc:picChg>
        <pc:picChg chg="mod">
          <ac:chgData name="Amber Weise" userId="3ca30e27-9a99-4c36-a22b-2cf2c031f50a" providerId="ADAL" clId="{7895E413-C6E4-4A18-B668-BC62446A4681}" dt="2019-11-26T15:25:48.343" v="154" actId="1076"/>
          <ac:picMkLst>
            <pc:docMk/>
            <pc:sldMk cId="3763808021" sldId="301"/>
            <ac:picMk id="9" creationId="{C950AFBB-24A2-4B15-A106-08BD8E775572}"/>
          </ac:picMkLst>
        </pc:picChg>
        <pc:picChg chg="mod">
          <ac:chgData name="Amber Weise" userId="3ca30e27-9a99-4c36-a22b-2cf2c031f50a" providerId="ADAL" clId="{7895E413-C6E4-4A18-B668-BC62446A4681}" dt="2019-11-26T15:26:03.945" v="159" actId="14100"/>
          <ac:picMkLst>
            <pc:docMk/>
            <pc:sldMk cId="3763808021" sldId="301"/>
            <ac:picMk id="10" creationId="{B6B198D8-CF00-4930-9F7F-9A3B783FBF2A}"/>
          </ac:picMkLst>
        </pc:picChg>
      </pc:sldChg>
    </pc:docChg>
  </pc:docChgLst>
  <pc:docChgLst>
    <pc:chgData name="Srikanth Gutha" userId="1de4ec77-3cd4-4727-9d7c-74657aaa26f5" providerId="ADAL" clId="{C18170AE-0385-4DD0-B2A4-97ECD698F494}"/>
    <pc:docChg chg="undo custSel addSld modSld modSection">
      <pc:chgData name="Srikanth Gutha" userId="1de4ec77-3cd4-4727-9d7c-74657aaa26f5" providerId="ADAL" clId="{C18170AE-0385-4DD0-B2A4-97ECD698F494}" dt="2020-07-07T03:49:02.137" v="134"/>
      <pc:docMkLst>
        <pc:docMk/>
      </pc:docMkLst>
      <pc:sldChg chg="modSp mod addCm">
        <pc:chgData name="Srikanth Gutha" userId="1de4ec77-3cd4-4727-9d7c-74657aaa26f5" providerId="ADAL" clId="{C18170AE-0385-4DD0-B2A4-97ECD698F494}" dt="2020-07-01T17:07:22.867" v="1" actId="13926"/>
        <pc:sldMkLst>
          <pc:docMk/>
          <pc:sldMk cId="1083707648" sldId="297"/>
        </pc:sldMkLst>
        <pc:spChg chg="mod">
          <ac:chgData name="Srikanth Gutha" userId="1de4ec77-3cd4-4727-9d7c-74657aaa26f5" providerId="ADAL" clId="{C18170AE-0385-4DD0-B2A4-97ECD698F494}" dt="2020-07-01T17:07:22.867" v="1" actId="13926"/>
          <ac:spMkLst>
            <pc:docMk/>
            <pc:sldMk cId="1083707648" sldId="297"/>
            <ac:spMk id="3" creationId="{397EFE3C-103F-468B-BBA2-1D8E61F543BB}"/>
          </ac:spMkLst>
        </pc:spChg>
      </pc:sldChg>
      <pc:sldChg chg="addCm modCm">
        <pc:chgData name="Srikanth Gutha" userId="1de4ec77-3cd4-4727-9d7c-74657aaa26f5" providerId="ADAL" clId="{C18170AE-0385-4DD0-B2A4-97ECD698F494}" dt="2020-07-01T17:35:17.757" v="3"/>
        <pc:sldMkLst>
          <pc:docMk/>
          <pc:sldMk cId="2044352583" sldId="2076136540"/>
        </pc:sldMkLst>
      </pc:sldChg>
      <pc:sldChg chg="modSp mod addCm modCm">
        <pc:chgData name="Srikanth Gutha" userId="1de4ec77-3cd4-4727-9d7c-74657aaa26f5" providerId="ADAL" clId="{C18170AE-0385-4DD0-B2A4-97ECD698F494}" dt="2020-07-07T03:49:02.137" v="134"/>
        <pc:sldMkLst>
          <pc:docMk/>
          <pc:sldMk cId="391012951" sldId="2076136542"/>
        </pc:sldMkLst>
        <pc:spChg chg="mod">
          <ac:chgData name="Srikanth Gutha" userId="1de4ec77-3cd4-4727-9d7c-74657aaa26f5" providerId="ADAL" clId="{C18170AE-0385-4DD0-B2A4-97ECD698F494}" dt="2020-07-01T17:53:36.342" v="30" actId="13926"/>
          <ac:spMkLst>
            <pc:docMk/>
            <pc:sldMk cId="391012951" sldId="2076136542"/>
            <ac:spMk id="3" creationId="{397EFE3C-103F-468B-BBA2-1D8E61F543BB}"/>
          </ac:spMkLst>
        </pc:spChg>
      </pc:sldChg>
      <pc:sldChg chg="modSp mod">
        <pc:chgData name="Srikanth Gutha" userId="1de4ec77-3cd4-4727-9d7c-74657aaa26f5" providerId="ADAL" clId="{C18170AE-0385-4DD0-B2A4-97ECD698F494}" dt="2020-07-01T17:49:12.581" v="19" actId="20577"/>
        <pc:sldMkLst>
          <pc:docMk/>
          <pc:sldMk cId="3271323399" sldId="2076136543"/>
        </pc:sldMkLst>
        <pc:spChg chg="mod">
          <ac:chgData name="Srikanth Gutha" userId="1de4ec77-3cd4-4727-9d7c-74657aaa26f5" providerId="ADAL" clId="{C18170AE-0385-4DD0-B2A4-97ECD698F494}" dt="2020-07-01T17:49:12.581" v="19" actId="20577"/>
          <ac:spMkLst>
            <pc:docMk/>
            <pc:sldMk cId="3271323399" sldId="2076136543"/>
            <ac:spMk id="3" creationId="{397EFE3C-103F-468B-BBA2-1D8E61F543BB}"/>
          </ac:spMkLst>
        </pc:spChg>
      </pc:sldChg>
      <pc:sldChg chg="addCm">
        <pc:chgData name="Srikanth Gutha" userId="1de4ec77-3cd4-4727-9d7c-74657aaa26f5" providerId="ADAL" clId="{C18170AE-0385-4DD0-B2A4-97ECD698F494}" dt="2020-07-01T17:52:32.900" v="29"/>
        <pc:sldMkLst>
          <pc:docMk/>
          <pc:sldMk cId="3124863696" sldId="2076136553"/>
        </pc:sldMkLst>
      </pc:sldChg>
      <pc:sldChg chg="modSp mod">
        <pc:chgData name="Srikanth Gutha" userId="1de4ec77-3cd4-4727-9d7c-74657aaa26f5" providerId="ADAL" clId="{C18170AE-0385-4DD0-B2A4-97ECD698F494}" dt="2020-07-01T17:51:23.064" v="28" actId="14100"/>
        <pc:sldMkLst>
          <pc:docMk/>
          <pc:sldMk cId="3166563262" sldId="2076136563"/>
        </pc:sldMkLst>
        <pc:spChg chg="mod">
          <ac:chgData name="Srikanth Gutha" userId="1de4ec77-3cd4-4727-9d7c-74657aaa26f5" providerId="ADAL" clId="{C18170AE-0385-4DD0-B2A4-97ECD698F494}" dt="2020-07-01T17:51:23.064" v="28" actId="14100"/>
          <ac:spMkLst>
            <pc:docMk/>
            <pc:sldMk cId="3166563262" sldId="2076136563"/>
            <ac:spMk id="3" creationId="{397EFE3C-103F-468B-BBA2-1D8E61F543BB}"/>
          </ac:spMkLst>
        </pc:spChg>
        <pc:picChg chg="mod">
          <ac:chgData name="Srikanth Gutha" userId="1de4ec77-3cd4-4727-9d7c-74657aaa26f5" providerId="ADAL" clId="{C18170AE-0385-4DD0-B2A4-97ECD698F494}" dt="2020-07-01T17:51:11.598" v="27" actId="1076"/>
          <ac:picMkLst>
            <pc:docMk/>
            <pc:sldMk cId="3166563262" sldId="2076136563"/>
            <ac:picMk id="6" creationId="{E87666A4-1DC6-4CFC-80DE-628C099F28E0}"/>
          </ac:picMkLst>
        </pc:picChg>
      </pc:sldChg>
      <pc:sldChg chg="addSp delSp modSp addCm">
        <pc:chgData name="Srikanth Gutha" userId="1de4ec77-3cd4-4727-9d7c-74657aaa26f5" providerId="ADAL" clId="{C18170AE-0385-4DD0-B2A4-97ECD698F494}" dt="2020-07-01T17:58:10.389" v="37"/>
        <pc:sldMkLst>
          <pc:docMk/>
          <pc:sldMk cId="4245619757" sldId="2076136567"/>
        </pc:sldMkLst>
        <pc:spChg chg="add del mod">
          <ac:chgData name="Srikanth Gutha" userId="1de4ec77-3cd4-4727-9d7c-74657aaa26f5" providerId="ADAL" clId="{C18170AE-0385-4DD0-B2A4-97ECD698F494}" dt="2020-07-01T17:57:54.793" v="35"/>
          <ac:spMkLst>
            <pc:docMk/>
            <pc:sldMk cId="4245619757" sldId="2076136567"/>
            <ac:spMk id="4" creationId="{5E487295-C91B-4137-B82F-0F1DF358BF20}"/>
          </ac:spMkLst>
        </pc:spChg>
      </pc:sldChg>
      <pc:sldChg chg="addCm">
        <pc:chgData name="Srikanth Gutha" userId="1de4ec77-3cd4-4727-9d7c-74657aaa26f5" providerId="ADAL" clId="{C18170AE-0385-4DD0-B2A4-97ECD698F494}" dt="2020-07-01T18:03:00.920" v="133"/>
        <pc:sldMkLst>
          <pc:docMk/>
          <pc:sldMk cId="100854004" sldId="2076136570"/>
        </pc:sldMkLst>
      </pc:sldChg>
      <pc:sldChg chg="addSp modSp add mod">
        <pc:chgData name="Srikanth Gutha" userId="1de4ec77-3cd4-4727-9d7c-74657aaa26f5" providerId="ADAL" clId="{C18170AE-0385-4DD0-B2A4-97ECD698F494}" dt="2020-07-01T18:00:01.362" v="132" actId="5793"/>
        <pc:sldMkLst>
          <pc:docMk/>
          <pc:sldMk cId="3882535038" sldId="2076136572"/>
        </pc:sldMkLst>
        <pc:graphicFrameChg chg="add mod modGraphic">
          <ac:chgData name="Srikanth Gutha" userId="1de4ec77-3cd4-4727-9d7c-74657aaa26f5" providerId="ADAL" clId="{C18170AE-0385-4DD0-B2A4-97ECD698F494}" dt="2020-07-01T18:00:01.362" v="132" actId="5793"/>
          <ac:graphicFrameMkLst>
            <pc:docMk/>
            <pc:sldMk cId="3882535038" sldId="2076136572"/>
            <ac:graphicFrameMk id="4" creationId="{D9B5FEB7-A0AE-45E9-8966-F28D1D31EADD}"/>
          </ac:graphicFrameMkLst>
        </pc:graphicFrameChg>
      </pc:sldChg>
    </pc:docChg>
  </pc:docChgLst>
  <pc:docChgLst>
    <pc:chgData name="Aurelia Etlin" userId="S::auretlin@microsoft.com::17c626bb-ce18-4079-8178-d87f0118134e" providerId="AD" clId="Web-{4E7A3FFD-6F3A-BF20-C8B0-6B227ACDD62A}"/>
    <pc:docChg chg="modSld">
      <pc:chgData name="Aurelia Etlin" userId="S::auretlin@microsoft.com::17c626bb-ce18-4079-8178-d87f0118134e" providerId="AD" clId="Web-{4E7A3FFD-6F3A-BF20-C8B0-6B227ACDD62A}" dt="2019-12-12T17:13:32.863" v="1"/>
      <pc:docMkLst>
        <pc:docMk/>
      </pc:docMkLst>
      <pc:sldChg chg="delSp">
        <pc:chgData name="Aurelia Etlin" userId="S::auretlin@microsoft.com::17c626bb-ce18-4079-8178-d87f0118134e" providerId="AD" clId="Web-{4E7A3FFD-6F3A-BF20-C8B0-6B227ACDD62A}" dt="2019-12-12T17:13:32.863" v="1"/>
        <pc:sldMkLst>
          <pc:docMk/>
          <pc:sldMk cId="3622939285" sldId="299"/>
        </pc:sldMkLst>
        <pc:picChg chg="del">
          <ac:chgData name="Aurelia Etlin" userId="S::auretlin@microsoft.com::17c626bb-ce18-4079-8178-d87f0118134e" providerId="AD" clId="Web-{4E7A3FFD-6F3A-BF20-C8B0-6B227ACDD62A}" dt="2019-12-12T17:13:32.863" v="1"/>
          <ac:picMkLst>
            <pc:docMk/>
            <pc:sldMk cId="3622939285" sldId="299"/>
            <ac:picMk id="5" creationId="{EC4CC73D-F0F1-4ADF-966C-F6CD46D9651F}"/>
          </ac:picMkLst>
        </pc:picChg>
      </pc:sldChg>
      <pc:sldChg chg="mod modShow">
        <pc:chgData name="Aurelia Etlin" userId="S::auretlin@microsoft.com::17c626bb-ce18-4079-8178-d87f0118134e" providerId="AD" clId="Web-{4E7A3FFD-6F3A-BF20-C8B0-6B227ACDD62A}" dt="2019-12-12T14:49:52.403" v="0"/>
        <pc:sldMkLst>
          <pc:docMk/>
          <pc:sldMk cId="150344561" sldId="333"/>
        </pc:sldMkLst>
      </pc:sldChg>
    </pc:docChg>
  </pc:docChgLst>
  <pc:docChgLst>
    <pc:chgData name="Yvonne Hamilton" userId="S::yharryma@microsoft.com::d4c2c114-0be8-4b0d-836d-cedba23cf6cf" providerId="AD" clId="Web-{E2F40858-1D3C-4F58-A391-481991D01CBB}"/>
    <pc:docChg chg="mod">
      <pc:chgData name="Yvonne Hamilton" userId="S::yharryma@microsoft.com::d4c2c114-0be8-4b0d-836d-cedba23cf6cf" providerId="AD" clId="Web-{E2F40858-1D3C-4F58-A391-481991D01CBB}" dt="2020-07-06T23:21:49.210" v="1"/>
      <pc:docMkLst>
        <pc:docMk/>
      </pc:docMkLst>
      <pc:sldChg chg="addCm">
        <pc:chgData name="Yvonne Hamilton" userId="S::yharryma@microsoft.com::d4c2c114-0be8-4b0d-836d-cedba23cf6cf" providerId="AD" clId="Web-{E2F40858-1D3C-4F58-A391-481991D01CBB}" dt="2020-07-06T23:21:49.210" v="1"/>
        <pc:sldMkLst>
          <pc:docMk/>
          <pc:sldMk cId="391012951" sldId="2076136542"/>
        </pc:sldMkLst>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3" dt="2020-08-17T19:41:38.485" idx="1">
    <p:pos x="2848" y="3896"/>
    <p:text>Global: Check if Microsoft copyright/confidentiality footer is required on each page</p:text>
  </p:cm>
</p:cmLst>
</file>

<file path=ppt/comments/modernComment_129_40981100.xml><?xml version="1.0" encoding="utf-8"?>
<p188:cmLst xmlns:a="http://schemas.openxmlformats.org/drawingml/2006/main" xmlns:r="http://schemas.openxmlformats.org/officeDocument/2006/relationships" xmlns:p188="http://schemas.microsoft.com/office/powerpoint/2018/8/main">
  <p188:cm id="{3E7E96A1-6AAF-4D0C-8ADF-C8E248581930}" authorId="{B1B281C7-6608-8FFE-52FA-A1B9E11EA095}" status="resolved" created="2020-07-01T17:07:12.802">
    <ac:deMkLst xmlns:ac="http://schemas.microsoft.com/office/drawing/2013/main/command">
      <pc:docMk xmlns:pc="http://schemas.microsoft.com/office/powerpoint/2013/main/command"/>
      <pc:sldMk xmlns:pc="http://schemas.microsoft.com/office/powerpoint/2013/main/command" cId="1083707648" sldId="297"/>
      <ac:spMk id="3" creationId="{397EFE3C-103F-468B-BBA2-1D8E61F543BB}"/>
    </ac:deMkLst>
    <p188:pos x="6351847" y="2411329"/>
    <p188:txBody>
      <a:bodyPr/>
      <a:lstStyle/>
      <a:p>
        <a:r>
          <a:rPr lang="en-US"/>
          <a:t>As the Workflow Infrastructure is deprecated, we can drop this benefit of WF I think..</a:t>
        </a:r>
      </a:p>
    </p188:txBody>
  </p188:cm>
</p188:cmLst>
</file>

<file path=ppt/comments/modernComment_7BBF5469_BA41A2D0.xml><?xml version="1.0" encoding="utf-8"?>
<p188:cmLst xmlns:a="http://schemas.openxmlformats.org/drawingml/2006/main" xmlns:r="http://schemas.openxmlformats.org/officeDocument/2006/relationships" xmlns:p188="http://schemas.microsoft.com/office/powerpoint/2018/8/main">
  <p188:cm id="{96D83FEF-5575-4F96-ABBF-D64E800085EF}" authorId="{B1B281C7-6608-8FFE-52FA-A1B9E11EA095}" status="resolved" created="2020-07-01T17:52:32.859">
    <ac:deMkLst xmlns:ac="http://schemas.microsoft.com/office/drawing/2013/main/command">
      <pc:docMk xmlns:pc="http://schemas.microsoft.com/office/powerpoint/2013/main/command"/>
      <pc:sldMk xmlns:pc="http://schemas.microsoft.com/office/powerpoint/2013/main/command" cId="3124863696" sldId="2076136553"/>
      <ac:spMk id="3" creationId="{397EFE3C-103F-468B-BBA2-1D8E61F543BB}"/>
    </ac:deMkLst>
    <p188:txBody>
      <a:bodyPr/>
      <a:lstStyle/>
      <a:p>
        <a:r>
          <a:rPr lang="en-US"/>
          <a:t>Can we simplify the text with some icons/pictures on this slide.. Do not delete any of the text..instead move it to Notes section</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D11A65-5648-4C79-AC71-553B61658A7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5664258-86E4-48FF-9B0B-6D88088651DD}">
      <dgm:prSet phldrT="[Text]" custT="1"/>
      <dgm:spPr/>
      <dgm:t>
        <a:bodyPr/>
        <a:lstStyle/>
        <a:p>
          <a:r>
            <a:rPr lang="en-US" sz="2400" dirty="0"/>
            <a:t>SharePoint 2010 Workflow</a:t>
          </a:r>
        </a:p>
      </dgm:t>
    </dgm:pt>
    <dgm:pt modelId="{ED502C53-14FF-4480-B0EB-013BCB16F962}" type="parTrans" cxnId="{2BBD71BE-C1F1-4B04-8B4E-7D13F4BCA934}">
      <dgm:prSet/>
      <dgm:spPr/>
      <dgm:t>
        <a:bodyPr/>
        <a:lstStyle/>
        <a:p>
          <a:endParaRPr lang="en-US"/>
        </a:p>
      </dgm:t>
    </dgm:pt>
    <dgm:pt modelId="{FEF83070-AEB1-4DBF-AEEE-E353A34E6D58}" type="sibTrans" cxnId="{2BBD71BE-C1F1-4B04-8B4E-7D13F4BCA934}">
      <dgm:prSet/>
      <dgm:spPr/>
      <dgm:t>
        <a:bodyPr/>
        <a:lstStyle/>
        <a:p>
          <a:endParaRPr lang="en-US"/>
        </a:p>
      </dgm:t>
    </dgm:pt>
    <dgm:pt modelId="{63EDE510-0D53-45B7-9E9C-6B2588474D0D}">
      <dgm:prSet phldrT="[Text]" custT="1"/>
      <dgm:spPr/>
      <dgm:t>
        <a:bodyPr/>
        <a:lstStyle/>
        <a:p>
          <a:pPr>
            <a:buFont typeface="Arial" panose="020B0604020202020204" pitchFamily="34" charset="0"/>
            <a:buChar char="•"/>
          </a:pPr>
          <a:r>
            <a:rPr lang="en-US" sz="2000" dirty="0"/>
            <a:t>SharePoint 2010 workflows, released with SharePoint Server 2010, are hosted, and executed in SharePoint workflow runtime.</a:t>
          </a:r>
        </a:p>
      </dgm:t>
    </dgm:pt>
    <dgm:pt modelId="{7670BCA0-1DE3-469D-A604-062FE3BD2620}" type="parTrans" cxnId="{F1FBDD3F-44C9-4495-AE6F-4E042286A511}">
      <dgm:prSet/>
      <dgm:spPr/>
      <dgm:t>
        <a:bodyPr/>
        <a:lstStyle/>
        <a:p>
          <a:endParaRPr lang="en-US"/>
        </a:p>
      </dgm:t>
    </dgm:pt>
    <dgm:pt modelId="{41B21EB1-8E25-402A-8FA5-46DE5FB354F8}" type="sibTrans" cxnId="{F1FBDD3F-44C9-4495-AE6F-4E042286A511}">
      <dgm:prSet/>
      <dgm:spPr/>
      <dgm:t>
        <a:bodyPr/>
        <a:lstStyle/>
        <a:p>
          <a:endParaRPr lang="en-US"/>
        </a:p>
      </dgm:t>
    </dgm:pt>
    <dgm:pt modelId="{35AE0026-306D-4FF9-845A-78FE0BF90EB9}">
      <dgm:prSet phldrT="[Text]" custT="1"/>
      <dgm:spPr/>
      <dgm:t>
        <a:bodyPr/>
        <a:lstStyle/>
        <a:p>
          <a:r>
            <a:rPr lang="en-US" sz="2400" dirty="0"/>
            <a:t>SharePoint 2013 Workflow</a:t>
          </a:r>
        </a:p>
      </dgm:t>
    </dgm:pt>
    <dgm:pt modelId="{F64E4BF9-2C57-4156-90D9-1C60E003D81E}" type="parTrans" cxnId="{1321CDEC-820E-4323-8880-6096546838CB}">
      <dgm:prSet/>
      <dgm:spPr/>
      <dgm:t>
        <a:bodyPr/>
        <a:lstStyle/>
        <a:p>
          <a:endParaRPr lang="en-US"/>
        </a:p>
      </dgm:t>
    </dgm:pt>
    <dgm:pt modelId="{7BDC560B-DB76-481B-BC67-1E2D2856B294}" type="sibTrans" cxnId="{1321CDEC-820E-4323-8880-6096546838CB}">
      <dgm:prSet/>
      <dgm:spPr/>
      <dgm:t>
        <a:bodyPr/>
        <a:lstStyle/>
        <a:p>
          <a:endParaRPr lang="en-US"/>
        </a:p>
      </dgm:t>
    </dgm:pt>
    <dgm:pt modelId="{E643A19E-3E68-4753-947F-E0944F4A61FE}">
      <dgm:prSet phldrT="[Text]" custT="1"/>
      <dgm:spPr/>
      <dgm:t>
        <a:bodyPr/>
        <a:lstStyle/>
        <a:p>
          <a:pPr>
            <a:buFont typeface="Arial" panose="020B0604020202020204" pitchFamily="34" charset="0"/>
            <a:buChar char="•"/>
          </a:pPr>
          <a:r>
            <a:rPr lang="en-US" sz="2000" dirty="0"/>
            <a:t>SharePoint 2013 workflows, released with SharePoint Server 2013, are hosted in SharePoint, and executed in Workflow Manager, that runs independently.</a:t>
          </a:r>
        </a:p>
      </dgm:t>
    </dgm:pt>
    <dgm:pt modelId="{60DBD401-F17A-4AB5-A592-21EAD3B00500}" type="parTrans" cxnId="{5935D0A5-5342-43E0-8CA2-73A2292A6BA8}">
      <dgm:prSet/>
      <dgm:spPr/>
      <dgm:t>
        <a:bodyPr/>
        <a:lstStyle/>
        <a:p>
          <a:endParaRPr lang="en-US"/>
        </a:p>
      </dgm:t>
    </dgm:pt>
    <dgm:pt modelId="{0034CB86-D8AB-4ACE-9857-2BDFF56ABD33}" type="sibTrans" cxnId="{5935D0A5-5342-43E0-8CA2-73A2292A6BA8}">
      <dgm:prSet/>
      <dgm:spPr/>
      <dgm:t>
        <a:bodyPr/>
        <a:lstStyle/>
        <a:p>
          <a:endParaRPr lang="en-US"/>
        </a:p>
      </dgm:t>
    </dgm:pt>
    <dgm:pt modelId="{B0A2FEEC-FA94-4A87-A94F-5A37C94AD764}">
      <dgm:prSet phldrT="[Text]" custT="1"/>
      <dgm:spPr/>
      <dgm:t>
        <a:bodyPr/>
        <a:lstStyle/>
        <a:p>
          <a:pPr>
            <a:buFont typeface="Arial" panose="020B0604020202020204" pitchFamily="34" charset="0"/>
            <a:buChar char="•"/>
          </a:pPr>
          <a:r>
            <a:rPr lang="en-US" sz="2000" dirty="0"/>
            <a:t>Workflow engine lives in SharePoint</a:t>
          </a:r>
        </a:p>
      </dgm:t>
    </dgm:pt>
    <dgm:pt modelId="{9BDB33F5-7336-4123-87E3-7446C1F481D6}" type="parTrans" cxnId="{2AA348C2-F26A-466C-9DC5-70203EEE3A03}">
      <dgm:prSet/>
      <dgm:spPr/>
      <dgm:t>
        <a:bodyPr/>
        <a:lstStyle/>
        <a:p>
          <a:endParaRPr lang="en-US"/>
        </a:p>
      </dgm:t>
    </dgm:pt>
    <dgm:pt modelId="{099319AE-E155-4B08-80FD-18F5C5BED47F}" type="sibTrans" cxnId="{2AA348C2-F26A-466C-9DC5-70203EEE3A03}">
      <dgm:prSet/>
      <dgm:spPr/>
      <dgm:t>
        <a:bodyPr/>
        <a:lstStyle/>
        <a:p>
          <a:endParaRPr lang="en-US"/>
        </a:p>
      </dgm:t>
    </dgm:pt>
    <dgm:pt modelId="{AE8C4BB7-B5B3-45F4-89C5-18E82739BC97}">
      <dgm:prSet custT="1"/>
      <dgm:spPr/>
      <dgm:t>
        <a:bodyPr/>
        <a:lstStyle/>
        <a:p>
          <a:pPr>
            <a:buFont typeface="Arial" panose="020B0604020202020204" pitchFamily="34" charset="0"/>
            <a:buNone/>
          </a:pPr>
          <a:endParaRPr lang="en-US" sz="2000" dirty="0"/>
        </a:p>
      </dgm:t>
    </dgm:pt>
    <dgm:pt modelId="{36FAC644-CC71-498E-9DE5-9EB2DE6598EC}" type="parTrans" cxnId="{690D8607-E707-44FB-8E9D-A84BE10B3053}">
      <dgm:prSet/>
      <dgm:spPr/>
      <dgm:t>
        <a:bodyPr/>
        <a:lstStyle/>
        <a:p>
          <a:endParaRPr lang="en-US"/>
        </a:p>
      </dgm:t>
    </dgm:pt>
    <dgm:pt modelId="{CC01F229-069A-44F9-8DDE-2616DD32DEAA}" type="sibTrans" cxnId="{690D8607-E707-44FB-8E9D-A84BE10B3053}">
      <dgm:prSet/>
      <dgm:spPr/>
      <dgm:t>
        <a:bodyPr/>
        <a:lstStyle/>
        <a:p>
          <a:endParaRPr lang="en-US"/>
        </a:p>
      </dgm:t>
    </dgm:pt>
    <dgm:pt modelId="{D401983C-3855-4E3B-8145-860F975120AF}">
      <dgm:prSet phldrT="[Text]" custT="1"/>
      <dgm:spPr/>
      <dgm:t>
        <a:bodyPr/>
        <a:lstStyle/>
        <a:p>
          <a:pPr>
            <a:buFont typeface="Arial" panose="020B0604020202020204" pitchFamily="34" charset="0"/>
            <a:buChar char="•"/>
          </a:pPr>
          <a:r>
            <a:rPr lang="en-US" sz="2000" dirty="0"/>
            <a:t>Workflow engine lives outside of SharePoint</a:t>
          </a:r>
        </a:p>
      </dgm:t>
    </dgm:pt>
    <dgm:pt modelId="{C1F9FEE4-6AEE-4095-B6E1-1FC952AB75B6}" type="parTrans" cxnId="{20C9024B-38AB-4397-8E36-9BC6C7BD83C9}">
      <dgm:prSet/>
      <dgm:spPr/>
      <dgm:t>
        <a:bodyPr/>
        <a:lstStyle/>
        <a:p>
          <a:endParaRPr lang="en-US"/>
        </a:p>
      </dgm:t>
    </dgm:pt>
    <dgm:pt modelId="{72BDC927-0DCE-46DA-B46A-FBC6F5A6E5F2}" type="sibTrans" cxnId="{20C9024B-38AB-4397-8E36-9BC6C7BD83C9}">
      <dgm:prSet/>
      <dgm:spPr/>
      <dgm:t>
        <a:bodyPr/>
        <a:lstStyle/>
        <a:p>
          <a:endParaRPr lang="en-US"/>
        </a:p>
      </dgm:t>
    </dgm:pt>
    <dgm:pt modelId="{D8F02DD6-5CB7-4C39-87D3-48ED3E58E2E7}">
      <dgm:prSet custT="1"/>
      <dgm:spPr/>
      <dgm:t>
        <a:bodyPr/>
        <a:lstStyle/>
        <a:p>
          <a:pPr>
            <a:buFont typeface="Arial" panose="020B0604020202020204" pitchFamily="34" charset="0"/>
            <a:buNone/>
          </a:pPr>
          <a:endParaRPr lang="en-US" sz="2000" dirty="0"/>
        </a:p>
      </dgm:t>
    </dgm:pt>
    <dgm:pt modelId="{AD01D5B1-EDC2-4D81-B2D2-26C7B1A53D22}" type="parTrans" cxnId="{509A2511-78B3-44B4-9235-2C7EC86C4C5C}">
      <dgm:prSet/>
      <dgm:spPr/>
      <dgm:t>
        <a:bodyPr/>
        <a:lstStyle/>
        <a:p>
          <a:endParaRPr lang="en-US"/>
        </a:p>
      </dgm:t>
    </dgm:pt>
    <dgm:pt modelId="{446934C9-E59A-4FDC-9BFB-8299C6F169E5}" type="sibTrans" cxnId="{509A2511-78B3-44B4-9235-2C7EC86C4C5C}">
      <dgm:prSet/>
      <dgm:spPr/>
      <dgm:t>
        <a:bodyPr/>
        <a:lstStyle/>
        <a:p>
          <a:endParaRPr lang="en-US"/>
        </a:p>
      </dgm:t>
    </dgm:pt>
    <dgm:pt modelId="{FA1DCE7D-169C-4DA3-8605-677DCC52625F}">
      <dgm:prSet phldrT="[Text]" custT="1"/>
      <dgm:spPr/>
      <dgm:t>
        <a:bodyPr/>
        <a:lstStyle/>
        <a:p>
          <a:pPr>
            <a:buFont typeface="Arial" panose="020B0604020202020204" pitchFamily="34" charset="0"/>
            <a:buChar char="•"/>
          </a:pPr>
          <a:r>
            <a:rPr lang="en-US" sz="2000" b="1" dirty="0"/>
            <a:t>As of Nov 2020 SharePoint 2010 Workflow will be retired</a:t>
          </a:r>
        </a:p>
      </dgm:t>
    </dgm:pt>
    <dgm:pt modelId="{A3D393C9-2170-42DE-9EE0-438B89366A57}" type="parTrans" cxnId="{23B1139E-90EA-4968-B6C3-75CA8D858E4B}">
      <dgm:prSet/>
      <dgm:spPr/>
      <dgm:t>
        <a:bodyPr/>
        <a:lstStyle/>
        <a:p>
          <a:endParaRPr lang="en-US"/>
        </a:p>
      </dgm:t>
    </dgm:pt>
    <dgm:pt modelId="{82D2161D-E138-46A9-84C9-52C49D0710CD}" type="sibTrans" cxnId="{23B1139E-90EA-4968-B6C3-75CA8D858E4B}">
      <dgm:prSet/>
      <dgm:spPr/>
      <dgm:t>
        <a:bodyPr/>
        <a:lstStyle/>
        <a:p>
          <a:endParaRPr lang="en-US"/>
        </a:p>
      </dgm:t>
    </dgm:pt>
    <dgm:pt modelId="{7EFA4020-2848-4491-A038-FDFF8F5C920F}">
      <dgm:prSet custT="1"/>
      <dgm:spPr/>
      <dgm:t>
        <a:bodyPr/>
        <a:lstStyle/>
        <a:p>
          <a:pPr>
            <a:buFont typeface="Arial" panose="020B0604020202020204" pitchFamily="34" charset="0"/>
            <a:buChar char="•"/>
          </a:pPr>
          <a:endParaRPr lang="en-US" sz="2000" dirty="0"/>
        </a:p>
      </dgm:t>
    </dgm:pt>
    <dgm:pt modelId="{962490CB-7824-4BF7-B64E-02EE6F347F75}" type="parTrans" cxnId="{6AB88A67-AD82-4D8E-912C-9D31C9BB79D2}">
      <dgm:prSet/>
      <dgm:spPr/>
      <dgm:t>
        <a:bodyPr/>
        <a:lstStyle/>
        <a:p>
          <a:endParaRPr lang="en-US"/>
        </a:p>
      </dgm:t>
    </dgm:pt>
    <dgm:pt modelId="{9EBCCC9D-69C0-499A-85AE-6BB7CDEC4A01}" type="sibTrans" cxnId="{6AB88A67-AD82-4D8E-912C-9D31C9BB79D2}">
      <dgm:prSet/>
      <dgm:spPr/>
      <dgm:t>
        <a:bodyPr/>
        <a:lstStyle/>
        <a:p>
          <a:endParaRPr lang="en-US"/>
        </a:p>
      </dgm:t>
    </dgm:pt>
    <dgm:pt modelId="{E8FEE2DF-C007-4A39-A2D1-FECEF986D13D}">
      <dgm:prSet phldrT="[Text]" custT="1"/>
      <dgm:spPr/>
      <dgm:t>
        <a:bodyPr/>
        <a:lstStyle/>
        <a:p>
          <a:pPr>
            <a:buFont typeface="Arial" panose="020B0604020202020204" pitchFamily="34" charset="0"/>
            <a:buChar char="•"/>
          </a:pPr>
          <a:endParaRPr lang="en-US" sz="2000" dirty="0"/>
        </a:p>
      </dgm:t>
    </dgm:pt>
    <dgm:pt modelId="{5464C7BB-960F-460F-AD15-AA4F35F2C993}" type="parTrans" cxnId="{6BC9E65A-7677-489B-94CF-17F37A118875}">
      <dgm:prSet/>
      <dgm:spPr/>
      <dgm:t>
        <a:bodyPr/>
        <a:lstStyle/>
        <a:p>
          <a:endParaRPr lang="en-US"/>
        </a:p>
      </dgm:t>
    </dgm:pt>
    <dgm:pt modelId="{5B2A8061-F540-41D9-962F-849917C96E4A}" type="sibTrans" cxnId="{6BC9E65A-7677-489B-94CF-17F37A118875}">
      <dgm:prSet/>
      <dgm:spPr/>
      <dgm:t>
        <a:bodyPr/>
        <a:lstStyle/>
        <a:p>
          <a:endParaRPr lang="en-US"/>
        </a:p>
      </dgm:t>
    </dgm:pt>
    <dgm:pt modelId="{A3EA0EE9-80E7-4670-A52E-E235B4C2B98D}">
      <dgm:prSet phldrT="[Text]" custT="1"/>
      <dgm:spPr/>
      <dgm:t>
        <a:bodyPr/>
        <a:lstStyle/>
        <a:p>
          <a:pPr>
            <a:buFont typeface="Arial" panose="020B0604020202020204" pitchFamily="34" charset="0"/>
            <a:buChar char="•"/>
          </a:pPr>
          <a:endParaRPr lang="en-US" sz="2000" dirty="0"/>
        </a:p>
      </dgm:t>
    </dgm:pt>
    <dgm:pt modelId="{5F26CD82-1C62-4927-8736-6A44C0B55BC2}" type="parTrans" cxnId="{F19D9ABE-5656-45E3-86E3-0FD0F4D32696}">
      <dgm:prSet/>
      <dgm:spPr/>
      <dgm:t>
        <a:bodyPr/>
        <a:lstStyle/>
        <a:p>
          <a:endParaRPr lang="en-US"/>
        </a:p>
      </dgm:t>
    </dgm:pt>
    <dgm:pt modelId="{A5ECF4EC-F78F-4C57-935B-D56E2D65DC10}" type="sibTrans" cxnId="{F19D9ABE-5656-45E3-86E3-0FD0F4D32696}">
      <dgm:prSet/>
      <dgm:spPr/>
      <dgm:t>
        <a:bodyPr/>
        <a:lstStyle/>
        <a:p>
          <a:endParaRPr lang="en-US"/>
        </a:p>
      </dgm:t>
    </dgm:pt>
    <dgm:pt modelId="{F61A1A7F-BB20-42BA-9973-D796A031F7CB}" type="pres">
      <dgm:prSet presAssocID="{2CD11A65-5648-4C79-AC71-553B61658A78}" presName="Name0" presStyleCnt="0">
        <dgm:presLayoutVars>
          <dgm:dir/>
          <dgm:animLvl val="lvl"/>
          <dgm:resizeHandles val="exact"/>
        </dgm:presLayoutVars>
      </dgm:prSet>
      <dgm:spPr/>
    </dgm:pt>
    <dgm:pt modelId="{B34DC5B2-D857-4503-A7AB-9C520252E791}" type="pres">
      <dgm:prSet presAssocID="{B5664258-86E4-48FF-9B0B-6D88088651DD}" presName="linNode" presStyleCnt="0"/>
      <dgm:spPr/>
    </dgm:pt>
    <dgm:pt modelId="{756642F3-43F0-41F9-AB0B-D312E5F17207}" type="pres">
      <dgm:prSet presAssocID="{B5664258-86E4-48FF-9B0B-6D88088651DD}" presName="parentText" presStyleLbl="node1" presStyleIdx="0" presStyleCnt="2" custScaleX="133755" custScaleY="27396" custLinFactNeighborX="-5069" custLinFactNeighborY="-33344">
        <dgm:presLayoutVars>
          <dgm:chMax val="1"/>
          <dgm:bulletEnabled val="1"/>
        </dgm:presLayoutVars>
      </dgm:prSet>
      <dgm:spPr/>
    </dgm:pt>
    <dgm:pt modelId="{6D4ADB1B-DB5B-4FFE-9E72-7868102C2186}" type="pres">
      <dgm:prSet presAssocID="{B5664258-86E4-48FF-9B0B-6D88088651DD}" presName="descendantText" presStyleLbl="alignAccFollowNode1" presStyleIdx="0" presStyleCnt="2" custScaleX="75041" custScaleY="56166" custLinFactX="-21471" custLinFactNeighborX="-100000" custLinFactNeighborY="33810">
        <dgm:presLayoutVars>
          <dgm:bulletEnabled val="1"/>
        </dgm:presLayoutVars>
      </dgm:prSet>
      <dgm:spPr/>
    </dgm:pt>
    <dgm:pt modelId="{873B855C-7A26-4F57-A46D-7C8BDCA46CCF}" type="pres">
      <dgm:prSet presAssocID="{FEF83070-AEB1-4DBF-AEEE-E353A34E6D58}" presName="sp" presStyleCnt="0"/>
      <dgm:spPr/>
    </dgm:pt>
    <dgm:pt modelId="{ABEEE6DF-05BD-4574-B6B6-BC22FE2A33A8}" type="pres">
      <dgm:prSet presAssocID="{35AE0026-306D-4FF9-845A-78FE0BF90EB9}" presName="linNode" presStyleCnt="0"/>
      <dgm:spPr/>
    </dgm:pt>
    <dgm:pt modelId="{E0B69AA6-7F51-4559-BEBF-8064EF2455B9}" type="pres">
      <dgm:prSet presAssocID="{35AE0026-306D-4FF9-845A-78FE0BF90EB9}" presName="parentText" presStyleLbl="node1" presStyleIdx="1" presStyleCnt="2" custScaleX="132249" custScaleY="28645" custLinFactY="-100000" custLinFactNeighborX="81111" custLinFactNeighborY="-141657">
        <dgm:presLayoutVars>
          <dgm:chMax val="1"/>
          <dgm:bulletEnabled val="1"/>
        </dgm:presLayoutVars>
      </dgm:prSet>
      <dgm:spPr/>
    </dgm:pt>
    <dgm:pt modelId="{9063157D-3668-4773-B59F-F6E23C1DFB89}" type="pres">
      <dgm:prSet presAssocID="{35AE0026-306D-4FF9-845A-78FE0BF90EB9}" presName="descendantText" presStyleLbl="alignAccFollowNode1" presStyleIdx="1" presStyleCnt="2" custScaleX="74020" custScaleY="53468" custLinFactNeighborX="15313" custLinFactNeighborY="-27867">
        <dgm:presLayoutVars>
          <dgm:bulletEnabled val="1"/>
        </dgm:presLayoutVars>
      </dgm:prSet>
      <dgm:spPr/>
    </dgm:pt>
  </dgm:ptLst>
  <dgm:cxnLst>
    <dgm:cxn modelId="{690D8607-E707-44FB-8E9D-A84BE10B3053}" srcId="{B5664258-86E4-48FF-9B0B-6D88088651DD}" destId="{AE8C4BB7-B5B3-45F4-89C5-18E82739BC97}" srcOrd="6" destOrd="0" parTransId="{36FAC644-CC71-498E-9DE5-9EB2DE6598EC}" sibTransId="{CC01F229-069A-44F9-8DDE-2616DD32DEAA}"/>
    <dgm:cxn modelId="{509A2511-78B3-44B4-9235-2C7EC86C4C5C}" srcId="{35AE0026-306D-4FF9-845A-78FE0BF90EB9}" destId="{D8F02DD6-5CB7-4C39-87D3-48ED3E58E2E7}" srcOrd="2" destOrd="0" parTransId="{AD01D5B1-EDC2-4D81-B2D2-26C7B1A53D22}" sibTransId="{446934C9-E59A-4FDC-9BFB-8299C6F169E5}"/>
    <dgm:cxn modelId="{60C47430-8895-4687-94C6-ED368C017FF7}" type="presOf" srcId="{B0A2FEEC-FA94-4A87-A94F-5A37C94AD764}" destId="{6D4ADB1B-DB5B-4FFE-9E72-7868102C2186}" srcOrd="0" destOrd="3" presId="urn:microsoft.com/office/officeart/2005/8/layout/vList5"/>
    <dgm:cxn modelId="{DBD59435-E8E0-4F73-AF6C-201EE2A2F539}" type="presOf" srcId="{35AE0026-306D-4FF9-845A-78FE0BF90EB9}" destId="{E0B69AA6-7F51-4559-BEBF-8064EF2455B9}" srcOrd="0" destOrd="0" presId="urn:microsoft.com/office/officeart/2005/8/layout/vList5"/>
    <dgm:cxn modelId="{F1FBDD3F-44C9-4495-AE6F-4E042286A511}" srcId="{B5664258-86E4-48FF-9B0B-6D88088651DD}" destId="{63EDE510-0D53-45B7-9E9C-6B2588474D0D}" srcOrd="2" destOrd="0" parTransId="{7670BCA0-1DE3-469D-A604-062FE3BD2620}" sibTransId="{41B21EB1-8E25-402A-8FA5-46DE5FB354F8}"/>
    <dgm:cxn modelId="{5B12C85C-4952-4F5F-BB7B-E55F109EC7B7}" type="presOf" srcId="{D8F02DD6-5CB7-4C39-87D3-48ED3E58E2E7}" destId="{9063157D-3668-4773-B59F-F6E23C1DFB89}" srcOrd="0" destOrd="2" presId="urn:microsoft.com/office/officeart/2005/8/layout/vList5"/>
    <dgm:cxn modelId="{EEB0B841-C5B2-4CC6-A0D3-ABF19EBEE413}" type="presOf" srcId="{E643A19E-3E68-4753-947F-E0944F4A61FE}" destId="{9063157D-3668-4773-B59F-F6E23C1DFB89}" srcOrd="0" destOrd="0" presId="urn:microsoft.com/office/officeart/2005/8/layout/vList5"/>
    <dgm:cxn modelId="{02BE3A67-311C-479E-A9A9-ECD15BFD093E}" type="presOf" srcId="{AE8C4BB7-B5B3-45F4-89C5-18E82739BC97}" destId="{6D4ADB1B-DB5B-4FFE-9E72-7868102C2186}" srcOrd="0" destOrd="6" presId="urn:microsoft.com/office/officeart/2005/8/layout/vList5"/>
    <dgm:cxn modelId="{6AB88A67-AD82-4D8E-912C-9D31C9BB79D2}" srcId="{B5664258-86E4-48FF-9B0B-6D88088651DD}" destId="{7EFA4020-2848-4491-A038-FDFF8F5C920F}" srcOrd="5" destOrd="0" parTransId="{962490CB-7824-4BF7-B64E-02EE6F347F75}" sibTransId="{9EBCCC9D-69C0-499A-85AE-6BB7CDEC4A01}"/>
    <dgm:cxn modelId="{20C9024B-38AB-4397-8E36-9BC6C7BD83C9}" srcId="{35AE0026-306D-4FF9-845A-78FE0BF90EB9}" destId="{D401983C-3855-4E3B-8145-860F975120AF}" srcOrd="1" destOrd="0" parTransId="{C1F9FEE4-6AEE-4095-B6E1-1FC952AB75B6}" sibTransId="{72BDC927-0DCE-46DA-B46A-FBC6F5A6E5F2}"/>
    <dgm:cxn modelId="{6BC9E65A-7677-489B-94CF-17F37A118875}" srcId="{B5664258-86E4-48FF-9B0B-6D88088651DD}" destId="{E8FEE2DF-C007-4A39-A2D1-FECEF986D13D}" srcOrd="0" destOrd="0" parTransId="{5464C7BB-960F-460F-AD15-AA4F35F2C993}" sibTransId="{5B2A8061-F540-41D9-962F-849917C96E4A}"/>
    <dgm:cxn modelId="{25C0C77D-DC8B-4F65-B2C8-8A5852A1599A}" type="presOf" srcId="{2CD11A65-5648-4C79-AC71-553B61658A78}" destId="{F61A1A7F-BB20-42BA-9973-D796A031F7CB}" srcOrd="0" destOrd="0" presId="urn:microsoft.com/office/officeart/2005/8/layout/vList5"/>
    <dgm:cxn modelId="{C9955B9A-84C8-4FF8-BCD3-CA81C011B6EA}" type="presOf" srcId="{63EDE510-0D53-45B7-9E9C-6B2588474D0D}" destId="{6D4ADB1B-DB5B-4FFE-9E72-7868102C2186}" srcOrd="0" destOrd="2" presId="urn:microsoft.com/office/officeart/2005/8/layout/vList5"/>
    <dgm:cxn modelId="{23B1139E-90EA-4968-B6C3-75CA8D858E4B}" srcId="{B5664258-86E4-48FF-9B0B-6D88088651DD}" destId="{FA1DCE7D-169C-4DA3-8605-677DCC52625F}" srcOrd="4" destOrd="0" parTransId="{A3D393C9-2170-42DE-9EE0-438B89366A57}" sibTransId="{82D2161D-E138-46A9-84C9-52C49D0710CD}"/>
    <dgm:cxn modelId="{5935D0A5-5342-43E0-8CA2-73A2292A6BA8}" srcId="{35AE0026-306D-4FF9-845A-78FE0BF90EB9}" destId="{E643A19E-3E68-4753-947F-E0944F4A61FE}" srcOrd="0" destOrd="0" parTransId="{60DBD401-F17A-4AB5-A592-21EAD3B00500}" sibTransId="{0034CB86-D8AB-4ACE-9857-2BDFF56ABD33}"/>
    <dgm:cxn modelId="{D16CF2A7-1381-492E-A861-0A630C8006A0}" type="presOf" srcId="{B5664258-86E4-48FF-9B0B-6D88088651DD}" destId="{756642F3-43F0-41F9-AB0B-D312E5F17207}" srcOrd="0" destOrd="0" presId="urn:microsoft.com/office/officeart/2005/8/layout/vList5"/>
    <dgm:cxn modelId="{2BBD71BE-C1F1-4B04-8B4E-7D13F4BCA934}" srcId="{2CD11A65-5648-4C79-AC71-553B61658A78}" destId="{B5664258-86E4-48FF-9B0B-6D88088651DD}" srcOrd="0" destOrd="0" parTransId="{ED502C53-14FF-4480-B0EB-013BCB16F962}" sibTransId="{FEF83070-AEB1-4DBF-AEEE-E353A34E6D58}"/>
    <dgm:cxn modelId="{F19D9ABE-5656-45E3-86E3-0FD0F4D32696}" srcId="{B5664258-86E4-48FF-9B0B-6D88088651DD}" destId="{A3EA0EE9-80E7-4670-A52E-E235B4C2B98D}" srcOrd="1" destOrd="0" parTransId="{5F26CD82-1C62-4927-8736-6A44C0B55BC2}" sibTransId="{A5ECF4EC-F78F-4C57-935B-D56E2D65DC10}"/>
    <dgm:cxn modelId="{2AA348C2-F26A-466C-9DC5-70203EEE3A03}" srcId="{B5664258-86E4-48FF-9B0B-6D88088651DD}" destId="{B0A2FEEC-FA94-4A87-A94F-5A37C94AD764}" srcOrd="3" destOrd="0" parTransId="{9BDB33F5-7336-4123-87E3-7446C1F481D6}" sibTransId="{099319AE-E155-4B08-80FD-18F5C5BED47F}"/>
    <dgm:cxn modelId="{079B4CCD-F2D2-467B-8A75-AEBECC434370}" type="presOf" srcId="{A3EA0EE9-80E7-4670-A52E-E235B4C2B98D}" destId="{6D4ADB1B-DB5B-4FFE-9E72-7868102C2186}" srcOrd="0" destOrd="1" presId="urn:microsoft.com/office/officeart/2005/8/layout/vList5"/>
    <dgm:cxn modelId="{464FA2DA-0D61-4B83-BBB3-DFD35C46DF9C}" type="presOf" srcId="{D401983C-3855-4E3B-8145-860F975120AF}" destId="{9063157D-3668-4773-B59F-F6E23C1DFB89}" srcOrd="0" destOrd="1" presId="urn:microsoft.com/office/officeart/2005/8/layout/vList5"/>
    <dgm:cxn modelId="{F03929E8-3717-4435-B320-40A3DC2B10F9}" type="presOf" srcId="{FA1DCE7D-169C-4DA3-8605-677DCC52625F}" destId="{6D4ADB1B-DB5B-4FFE-9E72-7868102C2186}" srcOrd="0" destOrd="4" presId="urn:microsoft.com/office/officeart/2005/8/layout/vList5"/>
    <dgm:cxn modelId="{1321CDEC-820E-4323-8880-6096546838CB}" srcId="{2CD11A65-5648-4C79-AC71-553B61658A78}" destId="{35AE0026-306D-4FF9-845A-78FE0BF90EB9}" srcOrd="1" destOrd="0" parTransId="{F64E4BF9-2C57-4156-90D9-1C60E003D81E}" sibTransId="{7BDC560B-DB76-481B-BC67-1E2D2856B294}"/>
    <dgm:cxn modelId="{94D405F0-A2C4-413F-83F4-1C2137A3FC54}" type="presOf" srcId="{7EFA4020-2848-4491-A038-FDFF8F5C920F}" destId="{6D4ADB1B-DB5B-4FFE-9E72-7868102C2186}" srcOrd="0" destOrd="5" presId="urn:microsoft.com/office/officeart/2005/8/layout/vList5"/>
    <dgm:cxn modelId="{620A6AFD-E21B-4A72-84F5-01B16141BE03}" type="presOf" srcId="{E8FEE2DF-C007-4A39-A2D1-FECEF986D13D}" destId="{6D4ADB1B-DB5B-4FFE-9E72-7868102C2186}" srcOrd="0" destOrd="0" presId="urn:microsoft.com/office/officeart/2005/8/layout/vList5"/>
    <dgm:cxn modelId="{5776A269-75CE-48F6-A3EB-9332125F834C}" type="presParOf" srcId="{F61A1A7F-BB20-42BA-9973-D796A031F7CB}" destId="{B34DC5B2-D857-4503-A7AB-9C520252E791}" srcOrd="0" destOrd="0" presId="urn:microsoft.com/office/officeart/2005/8/layout/vList5"/>
    <dgm:cxn modelId="{DF7F15F1-9DA4-4B37-8E34-6BC7917A7E2C}" type="presParOf" srcId="{B34DC5B2-D857-4503-A7AB-9C520252E791}" destId="{756642F3-43F0-41F9-AB0B-D312E5F17207}" srcOrd="0" destOrd="0" presId="urn:microsoft.com/office/officeart/2005/8/layout/vList5"/>
    <dgm:cxn modelId="{D0375D95-1027-4CC6-9D85-6E61B2DA843E}" type="presParOf" srcId="{B34DC5B2-D857-4503-A7AB-9C520252E791}" destId="{6D4ADB1B-DB5B-4FFE-9E72-7868102C2186}" srcOrd="1" destOrd="0" presId="urn:microsoft.com/office/officeart/2005/8/layout/vList5"/>
    <dgm:cxn modelId="{A5F0904D-4ED6-4485-9566-EDEA5B7571B2}" type="presParOf" srcId="{F61A1A7F-BB20-42BA-9973-D796A031F7CB}" destId="{873B855C-7A26-4F57-A46D-7C8BDCA46CCF}" srcOrd="1" destOrd="0" presId="urn:microsoft.com/office/officeart/2005/8/layout/vList5"/>
    <dgm:cxn modelId="{3F82F1C8-1901-4594-B04F-85A8A8006762}" type="presParOf" srcId="{F61A1A7F-BB20-42BA-9973-D796A031F7CB}" destId="{ABEEE6DF-05BD-4574-B6B6-BC22FE2A33A8}" srcOrd="2" destOrd="0" presId="urn:microsoft.com/office/officeart/2005/8/layout/vList5"/>
    <dgm:cxn modelId="{0F01129B-16DB-432D-9F0D-F91DA4040621}" type="presParOf" srcId="{ABEEE6DF-05BD-4574-B6B6-BC22FE2A33A8}" destId="{E0B69AA6-7F51-4559-BEBF-8064EF2455B9}" srcOrd="0" destOrd="0" presId="urn:microsoft.com/office/officeart/2005/8/layout/vList5"/>
    <dgm:cxn modelId="{03126990-5B43-4D16-A6F6-341DB2F65BED}" type="presParOf" srcId="{ABEEE6DF-05BD-4574-B6B6-BC22FE2A33A8}" destId="{9063157D-3668-4773-B59F-F6E23C1DFB8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CD11A65-5648-4C79-AC71-553B61658A7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5664258-86E4-48FF-9B0B-6D88088651DD}">
      <dgm:prSet phldrT="[Text]" custT="1"/>
      <dgm:spPr/>
      <dgm:t>
        <a:bodyPr/>
        <a:lstStyle/>
        <a:p>
          <a:r>
            <a:rPr lang="en-US" sz="2400" dirty="0"/>
            <a:t>SharePoint Designer</a:t>
          </a:r>
        </a:p>
      </dgm:t>
    </dgm:pt>
    <dgm:pt modelId="{ED502C53-14FF-4480-B0EB-013BCB16F962}" type="parTrans" cxnId="{2BBD71BE-C1F1-4B04-8B4E-7D13F4BCA934}">
      <dgm:prSet/>
      <dgm:spPr/>
      <dgm:t>
        <a:bodyPr/>
        <a:lstStyle/>
        <a:p>
          <a:endParaRPr lang="en-US"/>
        </a:p>
      </dgm:t>
    </dgm:pt>
    <dgm:pt modelId="{FEF83070-AEB1-4DBF-AEEE-E353A34E6D58}" type="sibTrans" cxnId="{2BBD71BE-C1F1-4B04-8B4E-7D13F4BCA934}">
      <dgm:prSet/>
      <dgm:spPr/>
      <dgm:t>
        <a:bodyPr/>
        <a:lstStyle/>
        <a:p>
          <a:endParaRPr lang="en-US"/>
        </a:p>
      </dgm:t>
    </dgm:pt>
    <dgm:pt modelId="{63EDE510-0D53-45B7-9E9C-6B2588474D0D}">
      <dgm:prSet phldrT="[Text]" custT="1"/>
      <dgm:spPr/>
      <dgm:t>
        <a:bodyPr/>
        <a:lstStyle/>
        <a:p>
          <a:pPr>
            <a:buFont typeface="Arial" panose="020B0604020202020204" pitchFamily="34" charset="0"/>
            <a:buChar char="•"/>
          </a:pPr>
          <a:r>
            <a:rPr lang="en-US" sz="2000" dirty="0"/>
            <a:t>SharePoint Designer is the most used application to author and publish classic workflows in SharePoint</a:t>
          </a:r>
        </a:p>
      </dgm:t>
    </dgm:pt>
    <dgm:pt modelId="{7670BCA0-1DE3-469D-A604-062FE3BD2620}" type="parTrans" cxnId="{F1FBDD3F-44C9-4495-AE6F-4E042286A511}">
      <dgm:prSet/>
      <dgm:spPr/>
      <dgm:t>
        <a:bodyPr/>
        <a:lstStyle/>
        <a:p>
          <a:endParaRPr lang="en-US"/>
        </a:p>
      </dgm:t>
    </dgm:pt>
    <dgm:pt modelId="{41B21EB1-8E25-402A-8FA5-46DE5FB354F8}" type="sibTrans" cxnId="{F1FBDD3F-44C9-4495-AE6F-4E042286A511}">
      <dgm:prSet/>
      <dgm:spPr/>
      <dgm:t>
        <a:bodyPr/>
        <a:lstStyle/>
        <a:p>
          <a:endParaRPr lang="en-US"/>
        </a:p>
      </dgm:t>
    </dgm:pt>
    <dgm:pt modelId="{35AE0026-306D-4FF9-845A-78FE0BF90EB9}">
      <dgm:prSet phldrT="[Text]" custT="1"/>
      <dgm:spPr/>
      <dgm:t>
        <a:bodyPr/>
        <a:lstStyle/>
        <a:p>
          <a:r>
            <a:rPr lang="en-US" sz="2400" dirty="0"/>
            <a:t>Visual Studio</a:t>
          </a:r>
        </a:p>
      </dgm:t>
    </dgm:pt>
    <dgm:pt modelId="{F64E4BF9-2C57-4156-90D9-1C60E003D81E}" type="parTrans" cxnId="{1321CDEC-820E-4323-8880-6096546838CB}">
      <dgm:prSet/>
      <dgm:spPr/>
      <dgm:t>
        <a:bodyPr/>
        <a:lstStyle/>
        <a:p>
          <a:endParaRPr lang="en-US"/>
        </a:p>
      </dgm:t>
    </dgm:pt>
    <dgm:pt modelId="{7BDC560B-DB76-481B-BC67-1E2D2856B294}" type="sibTrans" cxnId="{1321CDEC-820E-4323-8880-6096546838CB}">
      <dgm:prSet/>
      <dgm:spPr/>
      <dgm:t>
        <a:bodyPr/>
        <a:lstStyle/>
        <a:p>
          <a:endParaRPr lang="en-US"/>
        </a:p>
      </dgm:t>
    </dgm:pt>
    <dgm:pt modelId="{E643A19E-3E68-4753-947F-E0944F4A61FE}">
      <dgm:prSet phldrT="[Text]" custT="1"/>
      <dgm:spPr/>
      <dgm:t>
        <a:bodyPr/>
        <a:lstStyle/>
        <a:p>
          <a:pPr>
            <a:buFont typeface="Arial" panose="020B0604020202020204" pitchFamily="34" charset="0"/>
            <a:buChar char="•"/>
          </a:pPr>
          <a:r>
            <a:rPr lang="en-US" sz="2000" dirty="0"/>
            <a:t>Professional Developers, looking to extend and build more complex workflows, use Visual Studio to create and publish workflows in SharePoint.</a:t>
          </a:r>
        </a:p>
      </dgm:t>
    </dgm:pt>
    <dgm:pt modelId="{60DBD401-F17A-4AB5-A592-21EAD3B00500}" type="parTrans" cxnId="{5935D0A5-5342-43E0-8CA2-73A2292A6BA8}">
      <dgm:prSet/>
      <dgm:spPr/>
      <dgm:t>
        <a:bodyPr/>
        <a:lstStyle/>
        <a:p>
          <a:endParaRPr lang="en-US"/>
        </a:p>
      </dgm:t>
    </dgm:pt>
    <dgm:pt modelId="{0034CB86-D8AB-4ACE-9857-2BDFF56ABD33}" type="sibTrans" cxnId="{5935D0A5-5342-43E0-8CA2-73A2292A6BA8}">
      <dgm:prSet/>
      <dgm:spPr/>
      <dgm:t>
        <a:bodyPr/>
        <a:lstStyle/>
        <a:p>
          <a:endParaRPr lang="en-US"/>
        </a:p>
      </dgm:t>
    </dgm:pt>
    <dgm:pt modelId="{6A929D70-5E90-4C10-A0A7-AF57821EC437}">
      <dgm:prSet phldrT="[Text]" custT="1"/>
      <dgm:spPr/>
      <dgm:t>
        <a:bodyPr/>
        <a:lstStyle/>
        <a:p>
          <a:pPr>
            <a:buFont typeface="Arial" panose="020B0604020202020204" pitchFamily="34" charset="0"/>
            <a:buChar char="•"/>
          </a:pPr>
          <a:r>
            <a:rPr lang="en-US" sz="2000" dirty="0"/>
            <a:t>Specific to SharePoint only</a:t>
          </a:r>
        </a:p>
      </dgm:t>
    </dgm:pt>
    <dgm:pt modelId="{79E2BE48-3263-46C7-9D24-44DE738D164C}" type="parTrans" cxnId="{C357C6CD-02BE-4C7D-A2C8-D075A1514BFB}">
      <dgm:prSet/>
      <dgm:spPr/>
      <dgm:t>
        <a:bodyPr/>
        <a:lstStyle/>
        <a:p>
          <a:endParaRPr lang="en-US"/>
        </a:p>
      </dgm:t>
    </dgm:pt>
    <dgm:pt modelId="{A25B3DD1-6946-411B-9A8F-968EF61CF6DC}" type="sibTrans" cxnId="{C357C6CD-02BE-4C7D-A2C8-D075A1514BFB}">
      <dgm:prSet/>
      <dgm:spPr/>
      <dgm:t>
        <a:bodyPr/>
        <a:lstStyle/>
        <a:p>
          <a:endParaRPr lang="en-US"/>
        </a:p>
      </dgm:t>
    </dgm:pt>
    <dgm:pt modelId="{1F6B2704-4B06-4554-A9A0-84C794752222}">
      <dgm:prSet phldrT="[Text]" custT="1"/>
      <dgm:spPr/>
      <dgm:t>
        <a:bodyPr/>
        <a:lstStyle/>
        <a:p>
          <a:pPr>
            <a:buFont typeface="Arial" panose="020B0604020202020204" pitchFamily="34" charset="0"/>
            <a:buChar char="•"/>
          </a:pPr>
          <a:r>
            <a:rPr lang="en-US" sz="2000" b="1" dirty="0"/>
            <a:t>Target Users: </a:t>
          </a:r>
          <a:r>
            <a:rPr lang="en-US" sz="2000" dirty="0"/>
            <a:t>Information workers, business analysts, SharePoint developers</a:t>
          </a:r>
        </a:p>
      </dgm:t>
    </dgm:pt>
    <dgm:pt modelId="{24D42661-BC82-4B0D-A23D-820AE7BC28CE}" type="parTrans" cxnId="{29FF0D9D-D0EC-4FFE-BAB2-989CCF4C03E9}">
      <dgm:prSet/>
      <dgm:spPr/>
      <dgm:t>
        <a:bodyPr/>
        <a:lstStyle/>
        <a:p>
          <a:endParaRPr lang="en-US"/>
        </a:p>
      </dgm:t>
    </dgm:pt>
    <dgm:pt modelId="{1F8717CA-A87B-4AB5-B327-417E520E65F3}" type="sibTrans" cxnId="{29FF0D9D-D0EC-4FFE-BAB2-989CCF4C03E9}">
      <dgm:prSet/>
      <dgm:spPr/>
      <dgm:t>
        <a:bodyPr/>
        <a:lstStyle/>
        <a:p>
          <a:endParaRPr lang="en-US"/>
        </a:p>
      </dgm:t>
    </dgm:pt>
    <dgm:pt modelId="{02C75F46-8FA4-43FA-B336-159AB2CD50CA}">
      <dgm:prSet custT="1"/>
      <dgm:spPr/>
      <dgm:t>
        <a:bodyPr/>
        <a:lstStyle/>
        <a:p>
          <a:pPr>
            <a:buFont typeface="Arial" panose="020B0604020202020204" pitchFamily="34" charset="0"/>
            <a:buNone/>
          </a:pPr>
          <a:endParaRPr lang="en-US" sz="2000" dirty="0"/>
        </a:p>
      </dgm:t>
    </dgm:pt>
    <dgm:pt modelId="{CBE456CD-6329-40D4-96FE-6F71FF79A835}" type="parTrans" cxnId="{D1F99B12-BF3F-4901-BB61-6664877428AA}">
      <dgm:prSet/>
      <dgm:spPr/>
      <dgm:t>
        <a:bodyPr/>
        <a:lstStyle/>
        <a:p>
          <a:endParaRPr lang="en-US"/>
        </a:p>
      </dgm:t>
    </dgm:pt>
    <dgm:pt modelId="{AF7A010A-54CF-429A-A3B1-8E3B15DC96E1}" type="sibTrans" cxnId="{D1F99B12-BF3F-4901-BB61-6664877428AA}">
      <dgm:prSet/>
      <dgm:spPr/>
      <dgm:t>
        <a:bodyPr/>
        <a:lstStyle/>
        <a:p>
          <a:endParaRPr lang="en-US"/>
        </a:p>
      </dgm:t>
    </dgm:pt>
    <dgm:pt modelId="{2BBD394A-BB2A-4722-B1A9-E058C3F27CEF}">
      <dgm:prSet phldrT="[Text]" custT="1"/>
      <dgm:spPr/>
      <dgm:t>
        <a:bodyPr/>
        <a:lstStyle/>
        <a:p>
          <a:pPr>
            <a:buFont typeface="Arial" panose="020B0604020202020204" pitchFamily="34" charset="0"/>
            <a:buChar char="•"/>
          </a:pPr>
          <a:endParaRPr lang="en-US" sz="2000" dirty="0"/>
        </a:p>
      </dgm:t>
    </dgm:pt>
    <dgm:pt modelId="{3D0F1CAB-23F0-4FF8-B2B8-DFC3F5D54B27}" type="parTrans" cxnId="{DBD9F051-B981-4B90-A4D9-0699CD3AA207}">
      <dgm:prSet/>
      <dgm:spPr/>
      <dgm:t>
        <a:bodyPr/>
        <a:lstStyle/>
        <a:p>
          <a:endParaRPr lang="en-US"/>
        </a:p>
      </dgm:t>
    </dgm:pt>
    <dgm:pt modelId="{1C92C46D-5783-4F25-86D7-41995B2DE1D7}" type="sibTrans" cxnId="{DBD9F051-B981-4B90-A4D9-0699CD3AA207}">
      <dgm:prSet/>
      <dgm:spPr/>
      <dgm:t>
        <a:bodyPr/>
        <a:lstStyle/>
        <a:p>
          <a:endParaRPr lang="en-US"/>
        </a:p>
      </dgm:t>
    </dgm:pt>
    <dgm:pt modelId="{26F134C6-B261-4E02-9A94-61113180C336}">
      <dgm:prSet phldrT="[Text]" custT="1"/>
      <dgm:spPr/>
      <dgm:t>
        <a:bodyPr/>
        <a:lstStyle/>
        <a:p>
          <a:pPr>
            <a:buFont typeface="Arial" panose="020B0604020202020204" pitchFamily="34" charset="0"/>
            <a:buChar char="•"/>
          </a:pPr>
          <a:endParaRPr lang="en-US" sz="2000" dirty="0"/>
        </a:p>
      </dgm:t>
    </dgm:pt>
    <dgm:pt modelId="{375C1C3A-AAC1-4BBB-8F69-FD20EFDDC03C}" type="parTrans" cxnId="{BF0FBFF1-64D1-4776-952C-FC78A276B153}">
      <dgm:prSet/>
      <dgm:spPr/>
      <dgm:t>
        <a:bodyPr/>
        <a:lstStyle/>
        <a:p>
          <a:endParaRPr lang="en-US"/>
        </a:p>
      </dgm:t>
    </dgm:pt>
    <dgm:pt modelId="{869F4712-77C5-4A40-8D96-514132A38BF6}" type="sibTrans" cxnId="{BF0FBFF1-64D1-4776-952C-FC78A276B153}">
      <dgm:prSet/>
      <dgm:spPr/>
      <dgm:t>
        <a:bodyPr/>
        <a:lstStyle/>
        <a:p>
          <a:endParaRPr lang="en-US"/>
        </a:p>
      </dgm:t>
    </dgm:pt>
    <dgm:pt modelId="{56B97DAF-886F-46B8-B5C4-905CC844BCB0}">
      <dgm:prSet phldrT="[Text]" custT="1"/>
      <dgm:spPr/>
      <dgm:t>
        <a:bodyPr/>
        <a:lstStyle/>
        <a:p>
          <a:pPr>
            <a:buFont typeface="Arial" panose="020B0604020202020204" pitchFamily="34" charset="0"/>
            <a:buChar char="•"/>
          </a:pPr>
          <a:r>
            <a:rPr lang="en-US" sz="2000" b="1" dirty="0"/>
            <a:t>Target users: </a:t>
          </a:r>
          <a:r>
            <a:rPr lang="en-US" sz="2000" dirty="0"/>
            <a:t>Intermediate or advanced software developers</a:t>
          </a:r>
        </a:p>
      </dgm:t>
    </dgm:pt>
    <dgm:pt modelId="{B0EF9F70-71A2-49B1-8231-852C90ACAD43}" type="parTrans" cxnId="{0D30F669-CA91-4A10-85A4-5F0EFE117BE9}">
      <dgm:prSet/>
      <dgm:spPr/>
      <dgm:t>
        <a:bodyPr/>
        <a:lstStyle/>
        <a:p>
          <a:endParaRPr lang="en-US"/>
        </a:p>
      </dgm:t>
    </dgm:pt>
    <dgm:pt modelId="{4AEDF41A-117B-44E7-BD77-19704105676C}" type="sibTrans" cxnId="{0D30F669-CA91-4A10-85A4-5F0EFE117BE9}">
      <dgm:prSet/>
      <dgm:spPr/>
      <dgm:t>
        <a:bodyPr/>
        <a:lstStyle/>
        <a:p>
          <a:endParaRPr lang="en-US"/>
        </a:p>
      </dgm:t>
    </dgm:pt>
    <dgm:pt modelId="{8F4AA8DE-925C-45A4-A565-20551CF5A343}">
      <dgm:prSet phldrT="[Text]" custT="1"/>
      <dgm:spPr/>
      <dgm:t>
        <a:bodyPr/>
        <a:lstStyle/>
        <a:p>
          <a:pPr>
            <a:buFont typeface="Arial" panose="020B0604020202020204" pitchFamily="34" charset="0"/>
            <a:buChar char="•"/>
          </a:pPr>
          <a:endParaRPr lang="en-US" sz="2000" dirty="0"/>
        </a:p>
      </dgm:t>
    </dgm:pt>
    <dgm:pt modelId="{88D22F27-DB25-4C7A-85F1-7F5CBF6F5287}" type="parTrans" cxnId="{35C478B2-A93E-475F-8774-3D26386C4346}">
      <dgm:prSet/>
      <dgm:spPr/>
      <dgm:t>
        <a:bodyPr/>
        <a:lstStyle/>
        <a:p>
          <a:endParaRPr lang="en-US"/>
        </a:p>
      </dgm:t>
    </dgm:pt>
    <dgm:pt modelId="{13F0F18C-00D6-4EC9-9F53-A15E2EE6E308}" type="sibTrans" cxnId="{35C478B2-A93E-475F-8774-3D26386C4346}">
      <dgm:prSet/>
      <dgm:spPr/>
      <dgm:t>
        <a:bodyPr/>
        <a:lstStyle/>
        <a:p>
          <a:endParaRPr lang="en-US"/>
        </a:p>
      </dgm:t>
    </dgm:pt>
    <dgm:pt modelId="{F61A1A7F-BB20-42BA-9973-D796A031F7CB}" type="pres">
      <dgm:prSet presAssocID="{2CD11A65-5648-4C79-AC71-553B61658A78}" presName="Name0" presStyleCnt="0">
        <dgm:presLayoutVars>
          <dgm:dir/>
          <dgm:animLvl val="lvl"/>
          <dgm:resizeHandles val="exact"/>
        </dgm:presLayoutVars>
      </dgm:prSet>
      <dgm:spPr/>
    </dgm:pt>
    <dgm:pt modelId="{B34DC5B2-D857-4503-A7AB-9C520252E791}" type="pres">
      <dgm:prSet presAssocID="{B5664258-86E4-48FF-9B0B-6D88088651DD}" presName="linNode" presStyleCnt="0"/>
      <dgm:spPr/>
    </dgm:pt>
    <dgm:pt modelId="{756642F3-43F0-41F9-AB0B-D312E5F17207}" type="pres">
      <dgm:prSet presAssocID="{B5664258-86E4-48FF-9B0B-6D88088651DD}" presName="parentText" presStyleLbl="node1" presStyleIdx="0" presStyleCnt="2" custScaleX="133755" custScaleY="27396" custLinFactNeighborX="-5069" custLinFactNeighborY="-33344">
        <dgm:presLayoutVars>
          <dgm:chMax val="1"/>
          <dgm:bulletEnabled val="1"/>
        </dgm:presLayoutVars>
      </dgm:prSet>
      <dgm:spPr/>
    </dgm:pt>
    <dgm:pt modelId="{6D4ADB1B-DB5B-4FFE-9E72-7868102C2186}" type="pres">
      <dgm:prSet presAssocID="{B5664258-86E4-48FF-9B0B-6D88088651DD}" presName="descendantText" presStyleLbl="alignAccFollowNode1" presStyleIdx="0" presStyleCnt="2" custScaleX="75041" custScaleY="56166" custLinFactX="-21471" custLinFactNeighborX="-100000" custLinFactNeighborY="33810">
        <dgm:presLayoutVars>
          <dgm:bulletEnabled val="1"/>
        </dgm:presLayoutVars>
      </dgm:prSet>
      <dgm:spPr/>
    </dgm:pt>
    <dgm:pt modelId="{873B855C-7A26-4F57-A46D-7C8BDCA46CCF}" type="pres">
      <dgm:prSet presAssocID="{FEF83070-AEB1-4DBF-AEEE-E353A34E6D58}" presName="sp" presStyleCnt="0"/>
      <dgm:spPr/>
    </dgm:pt>
    <dgm:pt modelId="{ABEEE6DF-05BD-4574-B6B6-BC22FE2A33A8}" type="pres">
      <dgm:prSet presAssocID="{35AE0026-306D-4FF9-845A-78FE0BF90EB9}" presName="linNode" presStyleCnt="0"/>
      <dgm:spPr/>
    </dgm:pt>
    <dgm:pt modelId="{E0B69AA6-7F51-4559-BEBF-8064EF2455B9}" type="pres">
      <dgm:prSet presAssocID="{35AE0026-306D-4FF9-845A-78FE0BF90EB9}" presName="parentText" presStyleLbl="node1" presStyleIdx="1" presStyleCnt="2" custScaleX="132249" custScaleY="28645" custLinFactY="-100000" custLinFactNeighborX="81111" custLinFactNeighborY="-141657">
        <dgm:presLayoutVars>
          <dgm:chMax val="1"/>
          <dgm:bulletEnabled val="1"/>
        </dgm:presLayoutVars>
      </dgm:prSet>
      <dgm:spPr/>
    </dgm:pt>
    <dgm:pt modelId="{9063157D-3668-4773-B59F-F6E23C1DFB89}" type="pres">
      <dgm:prSet presAssocID="{35AE0026-306D-4FF9-845A-78FE0BF90EB9}" presName="descendantText" presStyleLbl="alignAccFollowNode1" presStyleIdx="1" presStyleCnt="2" custScaleX="74020" custScaleY="53468" custLinFactNeighborX="15313" custLinFactNeighborY="-27867">
        <dgm:presLayoutVars>
          <dgm:bulletEnabled val="1"/>
        </dgm:presLayoutVars>
      </dgm:prSet>
      <dgm:spPr/>
    </dgm:pt>
  </dgm:ptLst>
  <dgm:cxnLst>
    <dgm:cxn modelId="{08079507-23ED-4CAE-9292-24B44CD1A99A}" type="presOf" srcId="{8F4AA8DE-925C-45A4-A565-20551CF5A343}" destId="{9063157D-3668-4773-B59F-F6E23C1DFB89}" srcOrd="0" destOrd="0" presId="urn:microsoft.com/office/officeart/2005/8/layout/vList5"/>
    <dgm:cxn modelId="{6943230B-E6BC-4B3D-92BB-34513B12503C}" type="presOf" srcId="{02C75F46-8FA4-43FA-B336-159AB2CD50CA}" destId="{6D4ADB1B-DB5B-4FFE-9E72-7868102C2186}" srcOrd="0" destOrd="4" presId="urn:microsoft.com/office/officeart/2005/8/layout/vList5"/>
    <dgm:cxn modelId="{D1F99B12-BF3F-4901-BB61-6664877428AA}" srcId="{B5664258-86E4-48FF-9B0B-6D88088651DD}" destId="{02C75F46-8FA4-43FA-B336-159AB2CD50CA}" srcOrd="4" destOrd="0" parTransId="{CBE456CD-6329-40D4-96FE-6F71FF79A835}" sibTransId="{AF7A010A-54CF-429A-A3B1-8E3B15DC96E1}"/>
    <dgm:cxn modelId="{AB0ED217-B075-45C2-8C00-022E955ABD7F}" type="presOf" srcId="{56B97DAF-886F-46B8-B5C4-905CC844BCB0}" destId="{9063157D-3668-4773-B59F-F6E23C1DFB89}" srcOrd="0" destOrd="2" presId="urn:microsoft.com/office/officeart/2005/8/layout/vList5"/>
    <dgm:cxn modelId="{DBD59435-E8E0-4F73-AF6C-201EE2A2F539}" type="presOf" srcId="{35AE0026-306D-4FF9-845A-78FE0BF90EB9}" destId="{E0B69AA6-7F51-4559-BEBF-8064EF2455B9}" srcOrd="0" destOrd="0" presId="urn:microsoft.com/office/officeart/2005/8/layout/vList5"/>
    <dgm:cxn modelId="{F1FBDD3F-44C9-4495-AE6F-4E042286A511}" srcId="{B5664258-86E4-48FF-9B0B-6D88088651DD}" destId="{63EDE510-0D53-45B7-9E9C-6B2588474D0D}" srcOrd="1" destOrd="0" parTransId="{7670BCA0-1DE3-469D-A604-062FE3BD2620}" sibTransId="{41B21EB1-8E25-402A-8FA5-46DE5FB354F8}"/>
    <dgm:cxn modelId="{EEB0B841-C5B2-4CC6-A0D3-ABF19EBEE413}" type="presOf" srcId="{E643A19E-3E68-4753-947F-E0944F4A61FE}" destId="{9063157D-3668-4773-B59F-F6E23C1DFB89}" srcOrd="0" destOrd="1" presId="urn:microsoft.com/office/officeart/2005/8/layout/vList5"/>
    <dgm:cxn modelId="{0586C666-5BA3-4C4A-B152-E0B024FD346C}" type="presOf" srcId="{1F6B2704-4B06-4554-A9A0-84C794752222}" destId="{6D4ADB1B-DB5B-4FFE-9E72-7868102C2186}" srcOrd="0" destOrd="3" presId="urn:microsoft.com/office/officeart/2005/8/layout/vList5"/>
    <dgm:cxn modelId="{0D30F669-CA91-4A10-85A4-5F0EFE117BE9}" srcId="{35AE0026-306D-4FF9-845A-78FE0BF90EB9}" destId="{56B97DAF-886F-46B8-B5C4-905CC844BCB0}" srcOrd="2" destOrd="0" parTransId="{B0EF9F70-71A2-49B1-8231-852C90ACAD43}" sibTransId="{4AEDF41A-117B-44E7-BD77-19704105676C}"/>
    <dgm:cxn modelId="{DBD9F051-B981-4B90-A4D9-0699CD3AA207}" srcId="{B5664258-86E4-48FF-9B0B-6D88088651DD}" destId="{2BBD394A-BB2A-4722-B1A9-E058C3F27CEF}" srcOrd="0" destOrd="0" parTransId="{3D0F1CAB-23F0-4FF8-B2B8-DFC3F5D54B27}" sibTransId="{1C92C46D-5783-4F25-86D7-41995B2DE1D7}"/>
    <dgm:cxn modelId="{25C0C77D-DC8B-4F65-B2C8-8A5852A1599A}" type="presOf" srcId="{2CD11A65-5648-4C79-AC71-553B61658A78}" destId="{F61A1A7F-BB20-42BA-9973-D796A031F7CB}" srcOrd="0" destOrd="0" presId="urn:microsoft.com/office/officeart/2005/8/layout/vList5"/>
    <dgm:cxn modelId="{C9955B9A-84C8-4FF8-BCD3-CA81C011B6EA}" type="presOf" srcId="{63EDE510-0D53-45B7-9E9C-6B2588474D0D}" destId="{6D4ADB1B-DB5B-4FFE-9E72-7868102C2186}" srcOrd="0" destOrd="1" presId="urn:microsoft.com/office/officeart/2005/8/layout/vList5"/>
    <dgm:cxn modelId="{29FF0D9D-D0EC-4FFE-BAB2-989CCF4C03E9}" srcId="{B5664258-86E4-48FF-9B0B-6D88088651DD}" destId="{1F6B2704-4B06-4554-A9A0-84C794752222}" srcOrd="3" destOrd="0" parTransId="{24D42661-BC82-4B0D-A23D-820AE7BC28CE}" sibTransId="{1F8717CA-A87B-4AB5-B327-417E520E65F3}"/>
    <dgm:cxn modelId="{5935D0A5-5342-43E0-8CA2-73A2292A6BA8}" srcId="{35AE0026-306D-4FF9-845A-78FE0BF90EB9}" destId="{E643A19E-3E68-4753-947F-E0944F4A61FE}" srcOrd="1" destOrd="0" parTransId="{60DBD401-F17A-4AB5-A592-21EAD3B00500}" sibTransId="{0034CB86-D8AB-4ACE-9857-2BDFF56ABD33}"/>
    <dgm:cxn modelId="{D16CF2A7-1381-492E-A861-0A630C8006A0}" type="presOf" srcId="{B5664258-86E4-48FF-9B0B-6D88088651DD}" destId="{756642F3-43F0-41F9-AB0B-D312E5F17207}" srcOrd="0" destOrd="0" presId="urn:microsoft.com/office/officeart/2005/8/layout/vList5"/>
    <dgm:cxn modelId="{35C478B2-A93E-475F-8774-3D26386C4346}" srcId="{35AE0026-306D-4FF9-845A-78FE0BF90EB9}" destId="{8F4AA8DE-925C-45A4-A565-20551CF5A343}" srcOrd="0" destOrd="0" parTransId="{88D22F27-DB25-4C7A-85F1-7F5CBF6F5287}" sibTransId="{13F0F18C-00D6-4EC9-9F53-A15E2EE6E308}"/>
    <dgm:cxn modelId="{2BBD71BE-C1F1-4B04-8B4E-7D13F4BCA934}" srcId="{2CD11A65-5648-4C79-AC71-553B61658A78}" destId="{B5664258-86E4-48FF-9B0B-6D88088651DD}" srcOrd="0" destOrd="0" parTransId="{ED502C53-14FF-4480-B0EB-013BCB16F962}" sibTransId="{FEF83070-AEB1-4DBF-AEEE-E353A34E6D58}"/>
    <dgm:cxn modelId="{C357C6CD-02BE-4C7D-A2C8-D075A1514BFB}" srcId="{B5664258-86E4-48FF-9B0B-6D88088651DD}" destId="{6A929D70-5E90-4C10-A0A7-AF57821EC437}" srcOrd="2" destOrd="0" parTransId="{79E2BE48-3263-46C7-9D24-44DE738D164C}" sibTransId="{A25B3DD1-6946-411B-9A8F-968EF61CF6DC}"/>
    <dgm:cxn modelId="{9E2EA7D7-FFB4-4A54-B057-7B47CEB36AAC}" type="presOf" srcId="{6A929D70-5E90-4C10-A0A7-AF57821EC437}" destId="{6D4ADB1B-DB5B-4FFE-9E72-7868102C2186}" srcOrd="0" destOrd="2" presId="urn:microsoft.com/office/officeart/2005/8/layout/vList5"/>
    <dgm:cxn modelId="{F641C1DB-16BF-4459-AFB0-F28C95ECF266}" type="presOf" srcId="{26F134C6-B261-4E02-9A94-61113180C336}" destId="{9063157D-3668-4773-B59F-F6E23C1DFB89}" srcOrd="0" destOrd="3" presId="urn:microsoft.com/office/officeart/2005/8/layout/vList5"/>
    <dgm:cxn modelId="{1321CDEC-820E-4323-8880-6096546838CB}" srcId="{2CD11A65-5648-4C79-AC71-553B61658A78}" destId="{35AE0026-306D-4FF9-845A-78FE0BF90EB9}" srcOrd="1" destOrd="0" parTransId="{F64E4BF9-2C57-4156-90D9-1C60E003D81E}" sibTransId="{7BDC560B-DB76-481B-BC67-1E2D2856B294}"/>
    <dgm:cxn modelId="{9CDC47F1-2006-423A-9B2F-40CCEA1007DC}" type="presOf" srcId="{2BBD394A-BB2A-4722-B1A9-E058C3F27CEF}" destId="{6D4ADB1B-DB5B-4FFE-9E72-7868102C2186}" srcOrd="0" destOrd="0" presId="urn:microsoft.com/office/officeart/2005/8/layout/vList5"/>
    <dgm:cxn modelId="{BF0FBFF1-64D1-4776-952C-FC78A276B153}" srcId="{35AE0026-306D-4FF9-845A-78FE0BF90EB9}" destId="{26F134C6-B261-4E02-9A94-61113180C336}" srcOrd="3" destOrd="0" parTransId="{375C1C3A-AAC1-4BBB-8F69-FD20EFDDC03C}" sibTransId="{869F4712-77C5-4A40-8D96-514132A38BF6}"/>
    <dgm:cxn modelId="{5776A269-75CE-48F6-A3EB-9332125F834C}" type="presParOf" srcId="{F61A1A7F-BB20-42BA-9973-D796A031F7CB}" destId="{B34DC5B2-D857-4503-A7AB-9C520252E791}" srcOrd="0" destOrd="0" presId="urn:microsoft.com/office/officeart/2005/8/layout/vList5"/>
    <dgm:cxn modelId="{DF7F15F1-9DA4-4B37-8E34-6BC7917A7E2C}" type="presParOf" srcId="{B34DC5B2-D857-4503-A7AB-9C520252E791}" destId="{756642F3-43F0-41F9-AB0B-D312E5F17207}" srcOrd="0" destOrd="0" presId="urn:microsoft.com/office/officeart/2005/8/layout/vList5"/>
    <dgm:cxn modelId="{D0375D95-1027-4CC6-9D85-6E61B2DA843E}" type="presParOf" srcId="{B34DC5B2-D857-4503-A7AB-9C520252E791}" destId="{6D4ADB1B-DB5B-4FFE-9E72-7868102C2186}" srcOrd="1" destOrd="0" presId="urn:microsoft.com/office/officeart/2005/8/layout/vList5"/>
    <dgm:cxn modelId="{A5F0904D-4ED6-4485-9566-EDEA5B7571B2}" type="presParOf" srcId="{F61A1A7F-BB20-42BA-9973-D796A031F7CB}" destId="{873B855C-7A26-4F57-A46D-7C8BDCA46CCF}" srcOrd="1" destOrd="0" presId="urn:microsoft.com/office/officeart/2005/8/layout/vList5"/>
    <dgm:cxn modelId="{3F82F1C8-1901-4594-B04F-85A8A8006762}" type="presParOf" srcId="{F61A1A7F-BB20-42BA-9973-D796A031F7CB}" destId="{ABEEE6DF-05BD-4574-B6B6-BC22FE2A33A8}" srcOrd="2" destOrd="0" presId="urn:microsoft.com/office/officeart/2005/8/layout/vList5"/>
    <dgm:cxn modelId="{0F01129B-16DB-432D-9F0D-F91DA4040621}" type="presParOf" srcId="{ABEEE6DF-05BD-4574-B6B6-BC22FE2A33A8}" destId="{E0B69AA6-7F51-4559-BEBF-8064EF2455B9}" srcOrd="0" destOrd="0" presId="urn:microsoft.com/office/officeart/2005/8/layout/vList5"/>
    <dgm:cxn modelId="{03126990-5B43-4D16-A6F6-341DB2F65BED}" type="presParOf" srcId="{ABEEE6DF-05BD-4574-B6B6-BC22FE2A33A8}" destId="{9063157D-3668-4773-B59F-F6E23C1DFB8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0DD885-8A91-492E-B1EE-95312573B87D}" type="doc">
      <dgm:prSet loTypeId="urn:microsoft.com/office/officeart/2005/8/layout/equation2" loCatId="process" qsTypeId="urn:microsoft.com/office/officeart/2005/8/quickstyle/simple1" qsCatId="simple" csTypeId="urn:microsoft.com/office/officeart/2005/8/colors/accent1_2" csCatId="accent1" phldr="1"/>
      <dgm:spPr/>
    </dgm:pt>
    <dgm:pt modelId="{6FD913D5-5115-4DCB-833E-8112372ADFC2}">
      <dgm:prSet phldrT="[Text]"/>
      <dgm:spPr>
        <a:solidFill>
          <a:srgbClr val="FF0000"/>
        </a:solidFill>
      </dgm:spPr>
      <dgm:t>
        <a:bodyPr/>
        <a:lstStyle/>
        <a:p>
          <a:r>
            <a:rPr lang="en-US" dirty="0"/>
            <a:t>Classic Workflow</a:t>
          </a:r>
        </a:p>
      </dgm:t>
    </dgm:pt>
    <dgm:pt modelId="{E9FF7FB3-7FB8-4C6B-B165-C0B30AFB8C19}" type="parTrans" cxnId="{E40D3974-2D5C-40E4-9F36-C9397DF05CE9}">
      <dgm:prSet/>
      <dgm:spPr/>
      <dgm:t>
        <a:bodyPr/>
        <a:lstStyle/>
        <a:p>
          <a:endParaRPr lang="en-US"/>
        </a:p>
      </dgm:t>
    </dgm:pt>
    <dgm:pt modelId="{23AF022E-3678-4718-ABC2-866B457E9B6B}" type="sibTrans" cxnId="{E40D3974-2D5C-40E4-9F36-C9397DF05CE9}">
      <dgm:prSet/>
      <dgm:spPr/>
      <dgm:t>
        <a:bodyPr/>
        <a:lstStyle/>
        <a:p>
          <a:endParaRPr lang="en-US" dirty="0"/>
        </a:p>
      </dgm:t>
    </dgm:pt>
    <dgm:pt modelId="{4D1A5295-D93C-4191-8435-D5091C0A01E2}">
      <dgm:prSet phldrT="[Text]"/>
      <dgm:spPr>
        <a:solidFill>
          <a:srgbClr val="00B050"/>
        </a:solidFill>
      </dgm:spPr>
      <dgm:t>
        <a:bodyPr/>
        <a:lstStyle/>
        <a:p>
          <a:r>
            <a:rPr lang="en-US" dirty="0"/>
            <a:t>Power Automate</a:t>
          </a:r>
        </a:p>
      </dgm:t>
    </dgm:pt>
    <dgm:pt modelId="{B7AFFBE6-3634-4E5D-89FB-150726F5A20A}" type="parTrans" cxnId="{8A139480-1DEE-4704-8C42-88487564394B}">
      <dgm:prSet/>
      <dgm:spPr/>
      <dgm:t>
        <a:bodyPr/>
        <a:lstStyle/>
        <a:p>
          <a:endParaRPr lang="en-US"/>
        </a:p>
      </dgm:t>
    </dgm:pt>
    <dgm:pt modelId="{D10A98C9-6F5D-4934-871A-6DAC026DA7F0}" type="sibTrans" cxnId="{8A139480-1DEE-4704-8C42-88487564394B}">
      <dgm:prSet/>
      <dgm:spPr/>
      <dgm:t>
        <a:bodyPr/>
        <a:lstStyle/>
        <a:p>
          <a:endParaRPr lang="en-US"/>
        </a:p>
      </dgm:t>
    </dgm:pt>
    <dgm:pt modelId="{1C19B002-15E3-4A20-99CF-B93F5D95CD9D}" type="pres">
      <dgm:prSet presAssocID="{A50DD885-8A91-492E-B1EE-95312573B87D}" presName="Name0" presStyleCnt="0">
        <dgm:presLayoutVars>
          <dgm:dir/>
          <dgm:resizeHandles val="exact"/>
        </dgm:presLayoutVars>
      </dgm:prSet>
      <dgm:spPr/>
    </dgm:pt>
    <dgm:pt modelId="{42F70E0B-D8DE-4765-9551-12673C0960C3}" type="pres">
      <dgm:prSet presAssocID="{A50DD885-8A91-492E-B1EE-95312573B87D}" presName="vNodes" presStyleCnt="0"/>
      <dgm:spPr/>
    </dgm:pt>
    <dgm:pt modelId="{3968FB3B-1A57-4A71-BC51-C9F73A1C406D}" type="pres">
      <dgm:prSet presAssocID="{6FD913D5-5115-4DCB-833E-8112372ADFC2}" presName="node" presStyleLbl="node1" presStyleIdx="0" presStyleCnt="2">
        <dgm:presLayoutVars>
          <dgm:bulletEnabled val="1"/>
        </dgm:presLayoutVars>
      </dgm:prSet>
      <dgm:spPr>
        <a:prstGeom prst="octagon">
          <a:avLst/>
        </a:prstGeom>
      </dgm:spPr>
    </dgm:pt>
    <dgm:pt modelId="{2C5A39CF-914D-455C-9314-3C2BC9D67DDE}" type="pres">
      <dgm:prSet presAssocID="{A50DD885-8A91-492E-B1EE-95312573B87D}" presName="sibTransLast" presStyleLbl="sibTrans2D1" presStyleIdx="0" presStyleCnt="1"/>
      <dgm:spPr/>
    </dgm:pt>
    <dgm:pt modelId="{5884B1AE-A198-4242-83BA-A6D1677090EA}" type="pres">
      <dgm:prSet presAssocID="{A50DD885-8A91-492E-B1EE-95312573B87D}" presName="connectorText" presStyleLbl="sibTrans2D1" presStyleIdx="0" presStyleCnt="1"/>
      <dgm:spPr/>
    </dgm:pt>
    <dgm:pt modelId="{BF3C3608-0845-4065-92A0-4FB0A2C8136C}" type="pres">
      <dgm:prSet presAssocID="{A50DD885-8A91-492E-B1EE-95312573B87D}" presName="lastNode" presStyleLbl="node1" presStyleIdx="1" presStyleCnt="2">
        <dgm:presLayoutVars>
          <dgm:bulletEnabled val="1"/>
        </dgm:presLayoutVars>
      </dgm:prSet>
      <dgm:spPr/>
    </dgm:pt>
  </dgm:ptLst>
  <dgm:cxnLst>
    <dgm:cxn modelId="{5F7E732E-1BE8-4812-9601-CAC618123C2A}" type="presOf" srcId="{A50DD885-8A91-492E-B1EE-95312573B87D}" destId="{1C19B002-15E3-4A20-99CF-B93F5D95CD9D}" srcOrd="0" destOrd="0" presId="urn:microsoft.com/office/officeart/2005/8/layout/equation2"/>
    <dgm:cxn modelId="{E40D3974-2D5C-40E4-9F36-C9397DF05CE9}" srcId="{A50DD885-8A91-492E-B1EE-95312573B87D}" destId="{6FD913D5-5115-4DCB-833E-8112372ADFC2}" srcOrd="0" destOrd="0" parTransId="{E9FF7FB3-7FB8-4C6B-B165-C0B30AFB8C19}" sibTransId="{23AF022E-3678-4718-ABC2-866B457E9B6B}"/>
    <dgm:cxn modelId="{8A139480-1DEE-4704-8C42-88487564394B}" srcId="{A50DD885-8A91-492E-B1EE-95312573B87D}" destId="{4D1A5295-D93C-4191-8435-D5091C0A01E2}" srcOrd="1" destOrd="0" parTransId="{B7AFFBE6-3634-4E5D-89FB-150726F5A20A}" sibTransId="{D10A98C9-6F5D-4934-871A-6DAC026DA7F0}"/>
    <dgm:cxn modelId="{5E2D60CB-92C3-48BE-A137-960FECC97770}" type="presOf" srcId="{23AF022E-3678-4718-ABC2-866B457E9B6B}" destId="{5884B1AE-A198-4242-83BA-A6D1677090EA}" srcOrd="1" destOrd="0" presId="urn:microsoft.com/office/officeart/2005/8/layout/equation2"/>
    <dgm:cxn modelId="{A8E2ECCE-B8EC-4EF5-A8F2-8D16F695CCA1}" type="presOf" srcId="{6FD913D5-5115-4DCB-833E-8112372ADFC2}" destId="{3968FB3B-1A57-4A71-BC51-C9F73A1C406D}" srcOrd="0" destOrd="0" presId="urn:microsoft.com/office/officeart/2005/8/layout/equation2"/>
    <dgm:cxn modelId="{9115C7DC-E74C-47DB-BB6C-FA6B5F334A12}" type="presOf" srcId="{4D1A5295-D93C-4191-8435-D5091C0A01E2}" destId="{BF3C3608-0845-4065-92A0-4FB0A2C8136C}" srcOrd="0" destOrd="0" presId="urn:microsoft.com/office/officeart/2005/8/layout/equation2"/>
    <dgm:cxn modelId="{083B83F6-B3F8-404B-AD70-3347F230BD43}" type="presOf" srcId="{23AF022E-3678-4718-ABC2-866B457E9B6B}" destId="{2C5A39CF-914D-455C-9314-3C2BC9D67DDE}" srcOrd="0" destOrd="0" presId="urn:microsoft.com/office/officeart/2005/8/layout/equation2"/>
    <dgm:cxn modelId="{2187D23E-7DCB-4BD4-8FF0-1F202ED50FF4}" type="presParOf" srcId="{1C19B002-15E3-4A20-99CF-B93F5D95CD9D}" destId="{42F70E0B-D8DE-4765-9551-12673C0960C3}" srcOrd="0" destOrd="0" presId="urn:microsoft.com/office/officeart/2005/8/layout/equation2"/>
    <dgm:cxn modelId="{D0266CE2-C5D0-4ED8-8388-A22FE75A4516}" type="presParOf" srcId="{42F70E0B-D8DE-4765-9551-12673C0960C3}" destId="{3968FB3B-1A57-4A71-BC51-C9F73A1C406D}" srcOrd="0" destOrd="0" presId="urn:microsoft.com/office/officeart/2005/8/layout/equation2"/>
    <dgm:cxn modelId="{158390C1-7A37-4DED-A804-3680BD192F73}" type="presParOf" srcId="{1C19B002-15E3-4A20-99CF-B93F5D95CD9D}" destId="{2C5A39CF-914D-455C-9314-3C2BC9D67DDE}" srcOrd="1" destOrd="0" presId="urn:microsoft.com/office/officeart/2005/8/layout/equation2"/>
    <dgm:cxn modelId="{0A6E1E2A-2B84-46A8-A0C5-4271F96A34C3}" type="presParOf" srcId="{2C5A39CF-914D-455C-9314-3C2BC9D67DDE}" destId="{5884B1AE-A198-4242-83BA-A6D1677090EA}" srcOrd="0" destOrd="0" presId="urn:microsoft.com/office/officeart/2005/8/layout/equation2"/>
    <dgm:cxn modelId="{9951EC06-97A6-44F5-BD69-C8FAFD53278A}" type="presParOf" srcId="{1C19B002-15E3-4A20-99CF-B93F5D95CD9D}" destId="{BF3C3608-0845-4065-92A0-4FB0A2C8136C}"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CD11A65-5648-4C79-AC71-553B61658A7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5664258-86E4-48FF-9B0B-6D88088651DD}">
      <dgm:prSet phldrT="[Text]" custT="1"/>
      <dgm:spPr/>
      <dgm:t>
        <a:bodyPr/>
        <a:lstStyle/>
        <a:p>
          <a:r>
            <a:rPr lang="en-US" sz="2400" dirty="0"/>
            <a:t>Power Automate</a:t>
          </a:r>
        </a:p>
      </dgm:t>
    </dgm:pt>
    <dgm:pt modelId="{ED502C53-14FF-4480-B0EB-013BCB16F962}" type="parTrans" cxnId="{2BBD71BE-C1F1-4B04-8B4E-7D13F4BCA934}">
      <dgm:prSet/>
      <dgm:spPr/>
      <dgm:t>
        <a:bodyPr/>
        <a:lstStyle/>
        <a:p>
          <a:endParaRPr lang="en-US"/>
        </a:p>
      </dgm:t>
    </dgm:pt>
    <dgm:pt modelId="{FEF83070-AEB1-4DBF-AEEE-E353A34E6D58}" type="sibTrans" cxnId="{2BBD71BE-C1F1-4B04-8B4E-7D13F4BCA934}">
      <dgm:prSet/>
      <dgm:spPr/>
      <dgm:t>
        <a:bodyPr/>
        <a:lstStyle/>
        <a:p>
          <a:endParaRPr lang="en-US"/>
        </a:p>
      </dgm:t>
    </dgm:pt>
    <dgm:pt modelId="{6A929D70-5E90-4C10-A0A7-AF57821EC437}">
      <dgm:prSet phldrT="[Text]" custT="1"/>
      <dgm:spPr/>
      <dgm:t>
        <a:bodyPr/>
        <a:lstStyle/>
        <a:p>
          <a:pPr>
            <a:buFont typeface="Arial" panose="020B0604020202020204" pitchFamily="34" charset="0"/>
            <a:buChar char="•"/>
          </a:pPr>
          <a:r>
            <a:rPr lang="en-US" sz="2000" dirty="0"/>
            <a:t>Tightly integrated with SharePoint Online but it is not limited to just SharePoint as it can connect to hundreds of popular apps and services</a:t>
          </a:r>
        </a:p>
      </dgm:t>
    </dgm:pt>
    <dgm:pt modelId="{79E2BE48-3263-46C7-9D24-44DE738D164C}" type="parTrans" cxnId="{C357C6CD-02BE-4C7D-A2C8-D075A1514BFB}">
      <dgm:prSet/>
      <dgm:spPr/>
      <dgm:t>
        <a:bodyPr/>
        <a:lstStyle/>
        <a:p>
          <a:endParaRPr lang="en-US"/>
        </a:p>
      </dgm:t>
    </dgm:pt>
    <dgm:pt modelId="{A25B3DD1-6946-411B-9A8F-968EF61CF6DC}" type="sibTrans" cxnId="{C357C6CD-02BE-4C7D-A2C8-D075A1514BFB}">
      <dgm:prSet/>
      <dgm:spPr/>
      <dgm:t>
        <a:bodyPr/>
        <a:lstStyle/>
        <a:p>
          <a:endParaRPr lang="en-US"/>
        </a:p>
      </dgm:t>
    </dgm:pt>
    <dgm:pt modelId="{EE7F3069-B19D-4FAF-A4B5-64112568F692}">
      <dgm:prSet phldrT="[Text]" custT="1"/>
      <dgm:spPr/>
      <dgm:t>
        <a:bodyPr/>
        <a:lstStyle/>
        <a:p>
          <a:pPr>
            <a:buFont typeface="Arial" panose="020B0604020202020204" pitchFamily="34" charset="0"/>
            <a:buChar char="•"/>
          </a:pPr>
          <a:r>
            <a:rPr lang="en-US" sz="2000" dirty="0"/>
            <a:t>Power Automate is one of the pillars of Power Platform and is the recommended workflow tool for SharePoint</a:t>
          </a:r>
        </a:p>
      </dgm:t>
    </dgm:pt>
    <dgm:pt modelId="{51C96BBB-4E12-4151-AA57-F4EF2EBEB390}" type="parTrans" cxnId="{260F37AE-C870-43D3-8E50-A859DC70BBF6}">
      <dgm:prSet/>
      <dgm:spPr/>
      <dgm:t>
        <a:bodyPr/>
        <a:lstStyle/>
        <a:p>
          <a:endParaRPr lang="en-US"/>
        </a:p>
      </dgm:t>
    </dgm:pt>
    <dgm:pt modelId="{2E61A1CA-322D-4AF7-9101-8D31AC63D9AE}" type="sibTrans" cxnId="{260F37AE-C870-43D3-8E50-A859DC70BBF6}">
      <dgm:prSet/>
      <dgm:spPr/>
      <dgm:t>
        <a:bodyPr/>
        <a:lstStyle/>
        <a:p>
          <a:endParaRPr lang="en-US"/>
        </a:p>
      </dgm:t>
    </dgm:pt>
    <dgm:pt modelId="{2071249C-4E85-4A34-AD72-988C5CC96E2A}">
      <dgm:prSet phldrT="[Text]" custT="1"/>
      <dgm:spPr/>
      <dgm:t>
        <a:bodyPr/>
        <a:lstStyle/>
        <a:p>
          <a:pPr>
            <a:buFont typeface="Arial" panose="020B0604020202020204" pitchFamily="34" charset="0"/>
            <a:buChar char="•"/>
          </a:pPr>
          <a:endParaRPr lang="en-US" sz="2000" dirty="0"/>
        </a:p>
      </dgm:t>
    </dgm:pt>
    <dgm:pt modelId="{B3216980-69B4-4FA1-AEF3-597B4EBF8666}" type="parTrans" cxnId="{C511D51A-AD1C-4681-BCF9-68352081D3E9}">
      <dgm:prSet/>
      <dgm:spPr/>
      <dgm:t>
        <a:bodyPr/>
        <a:lstStyle/>
        <a:p>
          <a:endParaRPr lang="en-US"/>
        </a:p>
      </dgm:t>
    </dgm:pt>
    <dgm:pt modelId="{DF2DE727-DC13-442D-ADB2-CFFBFC052286}" type="sibTrans" cxnId="{C511D51A-AD1C-4681-BCF9-68352081D3E9}">
      <dgm:prSet/>
      <dgm:spPr/>
      <dgm:t>
        <a:bodyPr/>
        <a:lstStyle/>
        <a:p>
          <a:endParaRPr lang="en-US"/>
        </a:p>
      </dgm:t>
    </dgm:pt>
    <dgm:pt modelId="{98C423BE-9362-4DF8-B43A-49644CB44FE7}">
      <dgm:prSet phldrT="[Text]" custT="1"/>
      <dgm:spPr/>
      <dgm:t>
        <a:bodyPr/>
        <a:lstStyle/>
        <a:p>
          <a:pPr>
            <a:buFont typeface="Arial" panose="020B0604020202020204" pitchFamily="34" charset="0"/>
            <a:buNone/>
          </a:pPr>
          <a:endParaRPr lang="en-US" sz="2000" dirty="0"/>
        </a:p>
      </dgm:t>
    </dgm:pt>
    <dgm:pt modelId="{F83F608F-2A43-49DE-852B-697725834144}" type="parTrans" cxnId="{EFECFB34-8B82-43F0-A4FD-DE51A17459DC}">
      <dgm:prSet/>
      <dgm:spPr/>
      <dgm:t>
        <a:bodyPr/>
        <a:lstStyle/>
        <a:p>
          <a:endParaRPr lang="en-US"/>
        </a:p>
      </dgm:t>
    </dgm:pt>
    <dgm:pt modelId="{2AEF69F3-4514-45E1-9187-E5F19E28397C}" type="sibTrans" cxnId="{EFECFB34-8B82-43F0-A4FD-DE51A17459DC}">
      <dgm:prSet/>
      <dgm:spPr/>
      <dgm:t>
        <a:bodyPr/>
        <a:lstStyle/>
        <a:p>
          <a:endParaRPr lang="en-US"/>
        </a:p>
      </dgm:t>
    </dgm:pt>
    <dgm:pt modelId="{CF5EC56A-507D-4AD1-A85D-62712A46400B}">
      <dgm:prSet phldrT="[Text]" custT="1"/>
      <dgm:spPr/>
      <dgm:t>
        <a:bodyPr/>
        <a:lstStyle/>
        <a:p>
          <a:pPr>
            <a:buFont typeface="Arial" panose="020B0604020202020204" pitchFamily="34" charset="0"/>
            <a:buChar char="•"/>
          </a:pPr>
          <a:r>
            <a:rPr lang="en-US" sz="2000" dirty="0"/>
            <a:t>Powerful workflow automation with a no-code/low-code approach </a:t>
          </a:r>
        </a:p>
      </dgm:t>
    </dgm:pt>
    <dgm:pt modelId="{75981D1D-EF0E-4C90-AD34-05279DEE20D0}" type="parTrans" cxnId="{1FAE3ED6-7C89-4EE7-B39F-9822B45D07B8}">
      <dgm:prSet/>
      <dgm:spPr/>
      <dgm:t>
        <a:bodyPr/>
        <a:lstStyle/>
        <a:p>
          <a:endParaRPr lang="en-US"/>
        </a:p>
      </dgm:t>
    </dgm:pt>
    <dgm:pt modelId="{E6F79533-9FE5-4817-87A5-604740C9C2D8}" type="sibTrans" cxnId="{1FAE3ED6-7C89-4EE7-B39F-9822B45D07B8}">
      <dgm:prSet/>
      <dgm:spPr/>
      <dgm:t>
        <a:bodyPr/>
        <a:lstStyle/>
        <a:p>
          <a:endParaRPr lang="en-US"/>
        </a:p>
      </dgm:t>
    </dgm:pt>
    <dgm:pt modelId="{A3F8077D-7599-426B-895A-94CC4DED864E}">
      <dgm:prSet phldrT="[Text]" custT="1"/>
      <dgm:spPr/>
      <dgm:t>
        <a:bodyPr/>
        <a:lstStyle/>
        <a:p>
          <a:pPr>
            <a:buFont typeface="Arial" panose="020B0604020202020204" pitchFamily="34" charset="0"/>
            <a:buChar char="•"/>
          </a:pPr>
          <a:endParaRPr lang="en-US" sz="2000" dirty="0"/>
        </a:p>
      </dgm:t>
    </dgm:pt>
    <dgm:pt modelId="{C6354749-D135-44F8-AFC7-C584A5FECA63}" type="parTrans" cxnId="{C81B89BC-8A0B-45DE-8E15-6B015D660E6A}">
      <dgm:prSet/>
      <dgm:spPr/>
      <dgm:t>
        <a:bodyPr/>
        <a:lstStyle/>
        <a:p>
          <a:endParaRPr lang="en-US"/>
        </a:p>
      </dgm:t>
    </dgm:pt>
    <dgm:pt modelId="{0142E650-3338-470A-8493-86817614A879}" type="sibTrans" cxnId="{C81B89BC-8A0B-45DE-8E15-6B015D660E6A}">
      <dgm:prSet/>
      <dgm:spPr/>
      <dgm:t>
        <a:bodyPr/>
        <a:lstStyle/>
        <a:p>
          <a:endParaRPr lang="en-US"/>
        </a:p>
      </dgm:t>
    </dgm:pt>
    <dgm:pt modelId="{F61A1A7F-BB20-42BA-9973-D796A031F7CB}" type="pres">
      <dgm:prSet presAssocID="{2CD11A65-5648-4C79-AC71-553B61658A78}" presName="Name0" presStyleCnt="0">
        <dgm:presLayoutVars>
          <dgm:dir/>
          <dgm:animLvl val="lvl"/>
          <dgm:resizeHandles val="exact"/>
        </dgm:presLayoutVars>
      </dgm:prSet>
      <dgm:spPr/>
    </dgm:pt>
    <dgm:pt modelId="{B34DC5B2-D857-4503-A7AB-9C520252E791}" type="pres">
      <dgm:prSet presAssocID="{B5664258-86E4-48FF-9B0B-6D88088651DD}" presName="linNode" presStyleCnt="0"/>
      <dgm:spPr/>
    </dgm:pt>
    <dgm:pt modelId="{756642F3-43F0-41F9-AB0B-D312E5F17207}" type="pres">
      <dgm:prSet presAssocID="{B5664258-86E4-48FF-9B0B-6D88088651DD}" presName="parentText" presStyleLbl="node1" presStyleIdx="0" presStyleCnt="1" custScaleX="199271" custScaleY="88222" custLinFactNeighborX="-23" custLinFactNeighborY="-642">
        <dgm:presLayoutVars>
          <dgm:chMax val="1"/>
          <dgm:bulletEnabled val="1"/>
        </dgm:presLayoutVars>
      </dgm:prSet>
      <dgm:spPr/>
    </dgm:pt>
    <dgm:pt modelId="{6D4ADB1B-DB5B-4FFE-9E72-7868102C2186}" type="pres">
      <dgm:prSet presAssocID="{B5664258-86E4-48FF-9B0B-6D88088651DD}" presName="descendantText" presStyleLbl="alignAccFollowNode1" presStyleIdx="0" presStyleCnt="1" custScaleX="262403" custScaleY="97212" custLinFactNeighborX="41" custLinFactNeighborY="-1675">
        <dgm:presLayoutVars>
          <dgm:bulletEnabled val="1"/>
        </dgm:presLayoutVars>
      </dgm:prSet>
      <dgm:spPr/>
    </dgm:pt>
  </dgm:ptLst>
  <dgm:cxnLst>
    <dgm:cxn modelId="{C511D51A-AD1C-4681-BCF9-68352081D3E9}" srcId="{B5664258-86E4-48FF-9B0B-6D88088651DD}" destId="{2071249C-4E85-4A34-AD72-988C5CC96E2A}" srcOrd="3" destOrd="0" parTransId="{B3216980-69B4-4FA1-AEF3-597B4EBF8666}" sibTransId="{DF2DE727-DC13-442D-ADB2-CFFBFC052286}"/>
    <dgm:cxn modelId="{239E611C-C9E6-4B4D-842E-3B86BA906B10}" type="presOf" srcId="{CF5EC56A-507D-4AD1-A85D-62712A46400B}" destId="{6D4ADB1B-DB5B-4FFE-9E72-7868102C2186}" srcOrd="0" destOrd="2" presId="urn:microsoft.com/office/officeart/2005/8/layout/vList5"/>
    <dgm:cxn modelId="{EFECFB34-8B82-43F0-A4FD-DE51A17459DC}" srcId="{B5664258-86E4-48FF-9B0B-6D88088651DD}" destId="{98C423BE-9362-4DF8-B43A-49644CB44FE7}" srcOrd="5" destOrd="0" parTransId="{F83F608F-2A43-49DE-852B-697725834144}" sibTransId="{2AEF69F3-4514-45E1-9187-E5F19E28397C}"/>
    <dgm:cxn modelId="{4FD5DD69-C374-4064-B165-0B1679842C21}" type="presOf" srcId="{2071249C-4E85-4A34-AD72-988C5CC96E2A}" destId="{6D4ADB1B-DB5B-4FFE-9E72-7868102C2186}" srcOrd="0" destOrd="3" presId="urn:microsoft.com/office/officeart/2005/8/layout/vList5"/>
    <dgm:cxn modelId="{D7115279-20B4-48B0-9C14-EBE51730FA43}" type="presOf" srcId="{A3F8077D-7599-426B-895A-94CC4DED864E}" destId="{6D4ADB1B-DB5B-4FFE-9E72-7868102C2186}" srcOrd="0" destOrd="1" presId="urn:microsoft.com/office/officeart/2005/8/layout/vList5"/>
    <dgm:cxn modelId="{25C0C77D-DC8B-4F65-B2C8-8A5852A1599A}" type="presOf" srcId="{2CD11A65-5648-4C79-AC71-553B61658A78}" destId="{F61A1A7F-BB20-42BA-9973-D796A031F7CB}" srcOrd="0" destOrd="0" presId="urn:microsoft.com/office/officeart/2005/8/layout/vList5"/>
    <dgm:cxn modelId="{7CCA487F-72E8-4998-9BFC-33EEEDB4AA69}" type="presOf" srcId="{98C423BE-9362-4DF8-B43A-49644CB44FE7}" destId="{6D4ADB1B-DB5B-4FFE-9E72-7868102C2186}" srcOrd="0" destOrd="5" presId="urn:microsoft.com/office/officeart/2005/8/layout/vList5"/>
    <dgm:cxn modelId="{D16CF2A7-1381-492E-A861-0A630C8006A0}" type="presOf" srcId="{B5664258-86E4-48FF-9B0B-6D88088651DD}" destId="{756642F3-43F0-41F9-AB0B-D312E5F17207}" srcOrd="0" destOrd="0" presId="urn:microsoft.com/office/officeart/2005/8/layout/vList5"/>
    <dgm:cxn modelId="{260F37AE-C870-43D3-8E50-A859DC70BBF6}" srcId="{B5664258-86E4-48FF-9B0B-6D88088651DD}" destId="{EE7F3069-B19D-4FAF-A4B5-64112568F692}" srcOrd="0" destOrd="0" parTransId="{51C96BBB-4E12-4151-AA57-F4EF2EBEB390}" sibTransId="{2E61A1CA-322D-4AF7-9101-8D31AC63D9AE}"/>
    <dgm:cxn modelId="{C81B89BC-8A0B-45DE-8E15-6B015D660E6A}" srcId="{B5664258-86E4-48FF-9B0B-6D88088651DD}" destId="{A3F8077D-7599-426B-895A-94CC4DED864E}" srcOrd="1" destOrd="0" parTransId="{C6354749-D135-44F8-AFC7-C584A5FECA63}" sibTransId="{0142E650-3338-470A-8493-86817614A879}"/>
    <dgm:cxn modelId="{2BBD71BE-C1F1-4B04-8B4E-7D13F4BCA934}" srcId="{2CD11A65-5648-4C79-AC71-553B61658A78}" destId="{B5664258-86E4-48FF-9B0B-6D88088651DD}" srcOrd="0" destOrd="0" parTransId="{ED502C53-14FF-4480-B0EB-013BCB16F962}" sibTransId="{FEF83070-AEB1-4DBF-AEEE-E353A34E6D58}"/>
    <dgm:cxn modelId="{C357C6CD-02BE-4C7D-A2C8-D075A1514BFB}" srcId="{B5664258-86E4-48FF-9B0B-6D88088651DD}" destId="{6A929D70-5E90-4C10-A0A7-AF57821EC437}" srcOrd="4" destOrd="0" parTransId="{79E2BE48-3263-46C7-9D24-44DE738D164C}" sibTransId="{A25B3DD1-6946-411B-9A8F-968EF61CF6DC}"/>
    <dgm:cxn modelId="{1FAE3ED6-7C89-4EE7-B39F-9822B45D07B8}" srcId="{B5664258-86E4-48FF-9B0B-6D88088651DD}" destId="{CF5EC56A-507D-4AD1-A85D-62712A46400B}" srcOrd="2" destOrd="0" parTransId="{75981D1D-EF0E-4C90-AD34-05279DEE20D0}" sibTransId="{E6F79533-9FE5-4817-87A5-604740C9C2D8}"/>
    <dgm:cxn modelId="{9E2EA7D7-FFB4-4A54-B057-7B47CEB36AAC}" type="presOf" srcId="{6A929D70-5E90-4C10-A0A7-AF57821EC437}" destId="{6D4ADB1B-DB5B-4FFE-9E72-7868102C2186}" srcOrd="0" destOrd="4" presId="urn:microsoft.com/office/officeart/2005/8/layout/vList5"/>
    <dgm:cxn modelId="{C04885F7-D766-459B-A471-E574454D4AC8}" type="presOf" srcId="{EE7F3069-B19D-4FAF-A4B5-64112568F692}" destId="{6D4ADB1B-DB5B-4FFE-9E72-7868102C2186}" srcOrd="0" destOrd="0" presId="urn:microsoft.com/office/officeart/2005/8/layout/vList5"/>
    <dgm:cxn modelId="{5776A269-75CE-48F6-A3EB-9332125F834C}" type="presParOf" srcId="{F61A1A7F-BB20-42BA-9973-D796A031F7CB}" destId="{B34DC5B2-D857-4503-A7AB-9C520252E791}" srcOrd="0" destOrd="0" presId="urn:microsoft.com/office/officeart/2005/8/layout/vList5"/>
    <dgm:cxn modelId="{DF7F15F1-9DA4-4B37-8E34-6BC7917A7E2C}" type="presParOf" srcId="{B34DC5B2-D857-4503-A7AB-9C520252E791}" destId="{756642F3-43F0-41F9-AB0B-D312E5F17207}" srcOrd="0" destOrd="0" presId="urn:microsoft.com/office/officeart/2005/8/layout/vList5"/>
    <dgm:cxn modelId="{D0375D95-1027-4CC6-9D85-6E61B2DA843E}" type="presParOf" srcId="{B34DC5B2-D857-4503-A7AB-9C520252E791}" destId="{6D4ADB1B-DB5B-4FFE-9E72-7868102C218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0AFC35B-80CA-4A80-B402-7466C1258A9D}"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D1AC9897-C7C7-4FCB-8397-053B004FC874}">
      <dgm:prSet phldrT="[Text]" custT="1"/>
      <dgm:spPr>
        <a:solidFill>
          <a:schemeClr val="accent1">
            <a:hueOff val="0"/>
            <a:satOff val="0"/>
            <a:lumOff val="0"/>
          </a:schemeClr>
        </a:solidFill>
      </dgm:spPr>
      <dgm:t>
        <a:bodyPr/>
        <a:lstStyle/>
        <a:p>
          <a:r>
            <a:rPr lang="en-US" sz="1600" dirty="0"/>
            <a:t>SharePoint Workflows</a:t>
          </a:r>
        </a:p>
      </dgm:t>
    </dgm:pt>
    <dgm:pt modelId="{E6722664-9CE3-4A7E-9C97-EBF46B811DDD}" type="parTrans" cxnId="{638815AF-433E-41EB-9082-5696D5870317}">
      <dgm:prSet/>
      <dgm:spPr/>
      <dgm:t>
        <a:bodyPr/>
        <a:lstStyle/>
        <a:p>
          <a:endParaRPr lang="en-US" sz="1600"/>
        </a:p>
      </dgm:t>
    </dgm:pt>
    <dgm:pt modelId="{E3205D96-4F69-4D16-AA08-38F2880514A0}" type="sibTrans" cxnId="{638815AF-433E-41EB-9082-5696D5870317}">
      <dgm:prSet/>
      <dgm:spPr/>
      <dgm:t>
        <a:bodyPr/>
        <a:lstStyle/>
        <a:p>
          <a:endParaRPr lang="en-US" sz="1600"/>
        </a:p>
      </dgm:t>
    </dgm:pt>
    <dgm:pt modelId="{24085B7E-1CBC-4C91-AF72-D6A8BC7505FE}">
      <dgm:prSet phldrT="[Text]" custT="1"/>
      <dgm:spPr>
        <a:solidFill>
          <a:schemeClr val="accent1">
            <a:hueOff val="0"/>
            <a:satOff val="0"/>
            <a:lumOff val="0"/>
          </a:schemeClr>
        </a:solidFill>
      </dgm:spPr>
      <dgm:t>
        <a:bodyPr/>
        <a:lstStyle/>
        <a:p>
          <a:r>
            <a:rPr lang="en-US" sz="1600" dirty="0"/>
            <a:t>SharePoint Site</a:t>
          </a:r>
        </a:p>
      </dgm:t>
    </dgm:pt>
    <dgm:pt modelId="{F091B1CB-1A2A-4256-BC15-7628E693D7A3}" type="parTrans" cxnId="{798BAC7C-3832-436B-A11C-6289E22576C2}">
      <dgm:prSet/>
      <dgm:spPr/>
      <dgm:t>
        <a:bodyPr/>
        <a:lstStyle/>
        <a:p>
          <a:endParaRPr lang="en-US" sz="1600"/>
        </a:p>
      </dgm:t>
    </dgm:pt>
    <dgm:pt modelId="{8515D10E-E8E5-4985-B228-3C82F18149F4}" type="sibTrans" cxnId="{798BAC7C-3832-436B-A11C-6289E22576C2}">
      <dgm:prSet/>
      <dgm:spPr/>
      <dgm:t>
        <a:bodyPr/>
        <a:lstStyle/>
        <a:p>
          <a:endParaRPr lang="en-US" sz="1600"/>
        </a:p>
      </dgm:t>
    </dgm:pt>
    <dgm:pt modelId="{4B22D76B-51B6-4A3F-BBD5-07363B34BE35}">
      <dgm:prSet phldrT="[Text]" custT="1"/>
      <dgm:spPr>
        <a:solidFill>
          <a:schemeClr val="accent1">
            <a:hueOff val="0"/>
            <a:satOff val="0"/>
            <a:lumOff val="0"/>
          </a:schemeClr>
        </a:solidFill>
      </dgm:spPr>
      <dgm:t>
        <a:bodyPr/>
        <a:lstStyle/>
        <a:p>
          <a:r>
            <a:rPr lang="en-US" sz="1600" dirty="0"/>
            <a:t>Triggers</a:t>
          </a:r>
        </a:p>
      </dgm:t>
    </dgm:pt>
    <dgm:pt modelId="{82B2299B-59F9-4C7A-9B17-70EA14A28192}" type="parTrans" cxnId="{BA48CEC2-FB9E-4A1B-BE90-028E9C5CED15}">
      <dgm:prSet/>
      <dgm:spPr/>
      <dgm:t>
        <a:bodyPr/>
        <a:lstStyle/>
        <a:p>
          <a:endParaRPr lang="en-US" sz="1600"/>
        </a:p>
      </dgm:t>
    </dgm:pt>
    <dgm:pt modelId="{0F1C30A4-0B67-41A3-9499-02ECFDA7EFC3}" type="sibTrans" cxnId="{BA48CEC2-FB9E-4A1B-BE90-028E9C5CED15}">
      <dgm:prSet/>
      <dgm:spPr/>
      <dgm:t>
        <a:bodyPr/>
        <a:lstStyle/>
        <a:p>
          <a:endParaRPr lang="en-US" sz="1600"/>
        </a:p>
      </dgm:t>
    </dgm:pt>
    <dgm:pt modelId="{7B95C3BF-C24B-4DE2-A3A1-C27F6D3AC80A}">
      <dgm:prSet phldrT="[Text]" custT="1"/>
      <dgm:spPr>
        <a:solidFill>
          <a:schemeClr val="accent1">
            <a:lumMod val="60000"/>
            <a:lumOff val="40000"/>
          </a:schemeClr>
        </a:solidFill>
      </dgm:spPr>
      <dgm:t>
        <a:bodyPr/>
        <a:lstStyle/>
        <a:p>
          <a:r>
            <a:rPr lang="en-US" sz="1600" dirty="0"/>
            <a:t>Conditions</a:t>
          </a:r>
        </a:p>
        <a:p>
          <a:r>
            <a:rPr lang="en-US" sz="1600" dirty="0"/>
            <a:t>/Loops</a:t>
          </a:r>
        </a:p>
      </dgm:t>
    </dgm:pt>
    <dgm:pt modelId="{37C224B7-FECE-4843-810A-A521C30131A5}" type="parTrans" cxnId="{FAE7AF46-99E6-468F-8FB8-61F6366F11FB}">
      <dgm:prSet/>
      <dgm:spPr/>
      <dgm:t>
        <a:bodyPr/>
        <a:lstStyle/>
        <a:p>
          <a:endParaRPr lang="en-US" sz="1600"/>
        </a:p>
      </dgm:t>
    </dgm:pt>
    <dgm:pt modelId="{3A3687E0-16DE-4142-B129-A7A4565C8112}" type="sibTrans" cxnId="{FAE7AF46-99E6-468F-8FB8-61F6366F11FB}">
      <dgm:prSet/>
      <dgm:spPr/>
      <dgm:t>
        <a:bodyPr/>
        <a:lstStyle/>
        <a:p>
          <a:endParaRPr lang="en-US" sz="1600"/>
        </a:p>
      </dgm:t>
    </dgm:pt>
    <dgm:pt modelId="{3DBD5D7B-0326-4FEC-8EBD-E013B47C9F1B}">
      <dgm:prSet phldrT="[Text]" custT="1"/>
      <dgm:spPr>
        <a:solidFill>
          <a:schemeClr val="accent1">
            <a:hueOff val="0"/>
            <a:satOff val="0"/>
            <a:lumOff val="0"/>
          </a:schemeClr>
        </a:solidFill>
      </dgm:spPr>
      <dgm:t>
        <a:bodyPr/>
        <a:lstStyle/>
        <a:p>
          <a:r>
            <a:rPr lang="en-US" sz="1600" dirty="0"/>
            <a:t>Actions</a:t>
          </a:r>
        </a:p>
      </dgm:t>
    </dgm:pt>
    <dgm:pt modelId="{CCBA1385-B0A0-4CB7-91E5-7F4F89B6E03D}" type="parTrans" cxnId="{96E9E87B-0441-4203-B37F-63B07589D7D3}">
      <dgm:prSet/>
      <dgm:spPr/>
      <dgm:t>
        <a:bodyPr/>
        <a:lstStyle/>
        <a:p>
          <a:endParaRPr lang="en-US" sz="1600"/>
        </a:p>
      </dgm:t>
    </dgm:pt>
    <dgm:pt modelId="{F1286D98-2C55-40F1-AA53-C04FDCAB164F}" type="sibTrans" cxnId="{96E9E87B-0441-4203-B37F-63B07589D7D3}">
      <dgm:prSet/>
      <dgm:spPr/>
      <dgm:t>
        <a:bodyPr/>
        <a:lstStyle/>
        <a:p>
          <a:endParaRPr lang="en-US" sz="1600"/>
        </a:p>
      </dgm:t>
    </dgm:pt>
    <dgm:pt modelId="{3ACD09C0-5372-43DD-9A7C-AF642C8C827C}" type="pres">
      <dgm:prSet presAssocID="{50AFC35B-80CA-4A80-B402-7466C1258A9D}" presName="cycle" presStyleCnt="0">
        <dgm:presLayoutVars>
          <dgm:chMax val="1"/>
          <dgm:dir/>
          <dgm:animLvl val="ctr"/>
          <dgm:resizeHandles val="exact"/>
        </dgm:presLayoutVars>
      </dgm:prSet>
      <dgm:spPr/>
    </dgm:pt>
    <dgm:pt modelId="{40B4E045-52F6-46C5-A70C-D244454D9BC1}" type="pres">
      <dgm:prSet presAssocID="{D1AC9897-C7C7-4FCB-8397-053B004FC874}" presName="centerShape" presStyleLbl="node0" presStyleIdx="0" presStyleCnt="1" custLinFactNeighborX="-3445" custLinFactNeighborY="-17934"/>
      <dgm:spPr/>
    </dgm:pt>
    <dgm:pt modelId="{05C61300-8039-41CA-BADC-49128DB00155}" type="pres">
      <dgm:prSet presAssocID="{F091B1CB-1A2A-4256-BC15-7628E693D7A3}" presName="parTrans" presStyleLbl="bgSibTrans2D1" presStyleIdx="0" presStyleCnt="4"/>
      <dgm:spPr/>
    </dgm:pt>
    <dgm:pt modelId="{AB79E945-FD38-4059-B470-8191467B9C5C}" type="pres">
      <dgm:prSet presAssocID="{24085B7E-1CBC-4C91-AF72-D6A8BC7505FE}" presName="node" presStyleLbl="node1" presStyleIdx="0" presStyleCnt="4" custRadScaleRad="44239" custRadScaleInc="-204611">
        <dgm:presLayoutVars>
          <dgm:bulletEnabled val="1"/>
        </dgm:presLayoutVars>
      </dgm:prSet>
      <dgm:spPr/>
    </dgm:pt>
    <dgm:pt modelId="{9FA3F35A-8B49-46BD-B311-2011B16C6400}" type="pres">
      <dgm:prSet presAssocID="{82B2299B-59F9-4C7A-9B17-70EA14A28192}" presName="parTrans" presStyleLbl="bgSibTrans2D1" presStyleIdx="1" presStyleCnt="4"/>
      <dgm:spPr/>
    </dgm:pt>
    <dgm:pt modelId="{ED29AB18-8E6A-4133-9B32-B4367B971736}" type="pres">
      <dgm:prSet presAssocID="{4B22D76B-51B6-4A3F-BBD5-07363B34BE35}" presName="node" presStyleLbl="node1" presStyleIdx="1" presStyleCnt="4" custRadScaleRad="126659" custRadScaleInc="-46601">
        <dgm:presLayoutVars>
          <dgm:bulletEnabled val="1"/>
        </dgm:presLayoutVars>
      </dgm:prSet>
      <dgm:spPr/>
    </dgm:pt>
    <dgm:pt modelId="{A9D7B79E-F7CE-480F-A29B-2CD91DCF8858}" type="pres">
      <dgm:prSet presAssocID="{37C224B7-FECE-4843-810A-A521C30131A5}" presName="parTrans" presStyleLbl="bgSibTrans2D1" presStyleIdx="2" presStyleCnt="4"/>
      <dgm:spPr/>
    </dgm:pt>
    <dgm:pt modelId="{D27E0808-0511-4F45-A005-E97DCC339720}" type="pres">
      <dgm:prSet presAssocID="{7B95C3BF-C24B-4DE2-A3A1-C27F6D3AC80A}" presName="node" presStyleLbl="node1" presStyleIdx="2" presStyleCnt="4" custRadScaleRad="119518" custRadScaleInc="-62528">
        <dgm:presLayoutVars>
          <dgm:bulletEnabled val="1"/>
        </dgm:presLayoutVars>
      </dgm:prSet>
      <dgm:spPr/>
    </dgm:pt>
    <dgm:pt modelId="{660C2F9B-4CD1-48F0-830B-B24113BA874E}" type="pres">
      <dgm:prSet presAssocID="{CCBA1385-B0A0-4CB7-91E5-7F4F89B6E03D}" presName="parTrans" presStyleLbl="bgSibTrans2D1" presStyleIdx="3" presStyleCnt="4"/>
      <dgm:spPr/>
    </dgm:pt>
    <dgm:pt modelId="{1A41BB08-E588-4B72-8C24-59C29735657F}" type="pres">
      <dgm:prSet presAssocID="{3DBD5D7B-0326-4FEC-8EBD-E013B47C9F1B}" presName="node" presStyleLbl="node1" presStyleIdx="3" presStyleCnt="4" custRadScaleRad="115731" custRadScaleInc="-70448">
        <dgm:presLayoutVars>
          <dgm:bulletEnabled val="1"/>
        </dgm:presLayoutVars>
      </dgm:prSet>
      <dgm:spPr/>
    </dgm:pt>
  </dgm:ptLst>
  <dgm:cxnLst>
    <dgm:cxn modelId="{EA08A302-E830-43AD-9912-1759BCE23809}" type="presOf" srcId="{82B2299B-59F9-4C7A-9B17-70EA14A28192}" destId="{9FA3F35A-8B49-46BD-B311-2011B16C6400}" srcOrd="0" destOrd="0" presId="urn:microsoft.com/office/officeart/2005/8/layout/radial4"/>
    <dgm:cxn modelId="{385B951E-E070-496B-9B6C-6082C94E9AA6}" type="presOf" srcId="{F091B1CB-1A2A-4256-BC15-7628E693D7A3}" destId="{05C61300-8039-41CA-BADC-49128DB00155}" srcOrd="0" destOrd="0" presId="urn:microsoft.com/office/officeart/2005/8/layout/radial4"/>
    <dgm:cxn modelId="{FAE7AF46-99E6-468F-8FB8-61F6366F11FB}" srcId="{D1AC9897-C7C7-4FCB-8397-053B004FC874}" destId="{7B95C3BF-C24B-4DE2-A3A1-C27F6D3AC80A}" srcOrd="2" destOrd="0" parTransId="{37C224B7-FECE-4843-810A-A521C30131A5}" sibTransId="{3A3687E0-16DE-4142-B129-A7A4565C8112}"/>
    <dgm:cxn modelId="{96E9E87B-0441-4203-B37F-63B07589D7D3}" srcId="{D1AC9897-C7C7-4FCB-8397-053B004FC874}" destId="{3DBD5D7B-0326-4FEC-8EBD-E013B47C9F1B}" srcOrd="3" destOrd="0" parTransId="{CCBA1385-B0A0-4CB7-91E5-7F4F89B6E03D}" sibTransId="{F1286D98-2C55-40F1-AA53-C04FDCAB164F}"/>
    <dgm:cxn modelId="{798BAC7C-3832-436B-A11C-6289E22576C2}" srcId="{D1AC9897-C7C7-4FCB-8397-053B004FC874}" destId="{24085B7E-1CBC-4C91-AF72-D6A8BC7505FE}" srcOrd="0" destOrd="0" parTransId="{F091B1CB-1A2A-4256-BC15-7628E693D7A3}" sibTransId="{8515D10E-E8E5-4985-B228-3C82F18149F4}"/>
    <dgm:cxn modelId="{08454282-393E-486B-9A0D-88FA3EF89872}" type="presOf" srcId="{3DBD5D7B-0326-4FEC-8EBD-E013B47C9F1B}" destId="{1A41BB08-E588-4B72-8C24-59C29735657F}" srcOrd="0" destOrd="0" presId="urn:microsoft.com/office/officeart/2005/8/layout/radial4"/>
    <dgm:cxn modelId="{557FC489-C216-47B8-A2B9-F2C9C56E8268}" type="presOf" srcId="{37C224B7-FECE-4843-810A-A521C30131A5}" destId="{A9D7B79E-F7CE-480F-A29B-2CD91DCF8858}" srcOrd="0" destOrd="0" presId="urn:microsoft.com/office/officeart/2005/8/layout/radial4"/>
    <dgm:cxn modelId="{5743EF99-D323-4471-871C-32B26285F0AE}" type="presOf" srcId="{50AFC35B-80CA-4A80-B402-7466C1258A9D}" destId="{3ACD09C0-5372-43DD-9A7C-AF642C8C827C}" srcOrd="0" destOrd="0" presId="urn:microsoft.com/office/officeart/2005/8/layout/radial4"/>
    <dgm:cxn modelId="{85F53FA1-4283-4D99-A7B8-59DB824FF708}" type="presOf" srcId="{24085B7E-1CBC-4C91-AF72-D6A8BC7505FE}" destId="{AB79E945-FD38-4059-B470-8191467B9C5C}" srcOrd="0" destOrd="0" presId="urn:microsoft.com/office/officeart/2005/8/layout/radial4"/>
    <dgm:cxn modelId="{0CEF0EA4-B0F2-4880-94EF-F10FF709DCDA}" type="presOf" srcId="{D1AC9897-C7C7-4FCB-8397-053B004FC874}" destId="{40B4E045-52F6-46C5-A70C-D244454D9BC1}" srcOrd="0" destOrd="0" presId="urn:microsoft.com/office/officeart/2005/8/layout/radial4"/>
    <dgm:cxn modelId="{638815AF-433E-41EB-9082-5696D5870317}" srcId="{50AFC35B-80CA-4A80-B402-7466C1258A9D}" destId="{D1AC9897-C7C7-4FCB-8397-053B004FC874}" srcOrd="0" destOrd="0" parTransId="{E6722664-9CE3-4A7E-9C97-EBF46B811DDD}" sibTransId="{E3205D96-4F69-4D16-AA08-38F2880514A0}"/>
    <dgm:cxn modelId="{F19957B3-69ED-41F4-9489-AE965E1D5001}" type="presOf" srcId="{7B95C3BF-C24B-4DE2-A3A1-C27F6D3AC80A}" destId="{D27E0808-0511-4F45-A005-E97DCC339720}" srcOrd="0" destOrd="0" presId="urn:microsoft.com/office/officeart/2005/8/layout/radial4"/>
    <dgm:cxn modelId="{BA48CEC2-FB9E-4A1B-BE90-028E9C5CED15}" srcId="{D1AC9897-C7C7-4FCB-8397-053B004FC874}" destId="{4B22D76B-51B6-4A3F-BBD5-07363B34BE35}" srcOrd="1" destOrd="0" parTransId="{82B2299B-59F9-4C7A-9B17-70EA14A28192}" sibTransId="{0F1C30A4-0B67-41A3-9499-02ECFDA7EFC3}"/>
    <dgm:cxn modelId="{3745BECE-8007-4D4E-90D7-83FA3DA4F0E4}" type="presOf" srcId="{CCBA1385-B0A0-4CB7-91E5-7F4F89B6E03D}" destId="{660C2F9B-4CD1-48F0-830B-B24113BA874E}" srcOrd="0" destOrd="0" presId="urn:microsoft.com/office/officeart/2005/8/layout/radial4"/>
    <dgm:cxn modelId="{252F8CD7-8CCF-4EF1-BFCA-47CA22444871}" type="presOf" srcId="{4B22D76B-51B6-4A3F-BBD5-07363B34BE35}" destId="{ED29AB18-8E6A-4133-9B32-B4367B971736}" srcOrd="0" destOrd="0" presId="urn:microsoft.com/office/officeart/2005/8/layout/radial4"/>
    <dgm:cxn modelId="{2AD3C419-0791-4F78-83E3-D84509C234D8}" type="presParOf" srcId="{3ACD09C0-5372-43DD-9A7C-AF642C8C827C}" destId="{40B4E045-52F6-46C5-A70C-D244454D9BC1}" srcOrd="0" destOrd="0" presId="urn:microsoft.com/office/officeart/2005/8/layout/radial4"/>
    <dgm:cxn modelId="{CB03C6A0-098B-48A7-BBEC-3BCC56B21FF3}" type="presParOf" srcId="{3ACD09C0-5372-43DD-9A7C-AF642C8C827C}" destId="{05C61300-8039-41CA-BADC-49128DB00155}" srcOrd="1" destOrd="0" presId="urn:microsoft.com/office/officeart/2005/8/layout/radial4"/>
    <dgm:cxn modelId="{5AF52BC4-23C1-4517-B5E8-BCDD14E465D9}" type="presParOf" srcId="{3ACD09C0-5372-43DD-9A7C-AF642C8C827C}" destId="{AB79E945-FD38-4059-B470-8191467B9C5C}" srcOrd="2" destOrd="0" presId="urn:microsoft.com/office/officeart/2005/8/layout/radial4"/>
    <dgm:cxn modelId="{AD7EDC6C-5D99-4572-99FD-44F392500F6C}" type="presParOf" srcId="{3ACD09C0-5372-43DD-9A7C-AF642C8C827C}" destId="{9FA3F35A-8B49-46BD-B311-2011B16C6400}" srcOrd="3" destOrd="0" presId="urn:microsoft.com/office/officeart/2005/8/layout/radial4"/>
    <dgm:cxn modelId="{3EE817E9-F88B-410D-B408-9AAD17EFA171}" type="presParOf" srcId="{3ACD09C0-5372-43DD-9A7C-AF642C8C827C}" destId="{ED29AB18-8E6A-4133-9B32-B4367B971736}" srcOrd="4" destOrd="0" presId="urn:microsoft.com/office/officeart/2005/8/layout/radial4"/>
    <dgm:cxn modelId="{7D1746AE-CC07-4348-AE9B-1A8C0A2A889D}" type="presParOf" srcId="{3ACD09C0-5372-43DD-9A7C-AF642C8C827C}" destId="{A9D7B79E-F7CE-480F-A29B-2CD91DCF8858}" srcOrd="5" destOrd="0" presId="urn:microsoft.com/office/officeart/2005/8/layout/radial4"/>
    <dgm:cxn modelId="{F6A144F5-7106-46AE-A4C3-1D1F4FDA0D39}" type="presParOf" srcId="{3ACD09C0-5372-43DD-9A7C-AF642C8C827C}" destId="{D27E0808-0511-4F45-A005-E97DCC339720}" srcOrd="6" destOrd="0" presId="urn:microsoft.com/office/officeart/2005/8/layout/radial4"/>
    <dgm:cxn modelId="{7598C974-7EE6-4619-AF21-22CCC625D35D}" type="presParOf" srcId="{3ACD09C0-5372-43DD-9A7C-AF642C8C827C}" destId="{660C2F9B-4CD1-48F0-830B-B24113BA874E}" srcOrd="7" destOrd="0" presId="urn:microsoft.com/office/officeart/2005/8/layout/radial4"/>
    <dgm:cxn modelId="{2AD45781-D3B8-485B-9CDD-709A1DD91D1C}" type="presParOf" srcId="{3ACD09C0-5372-43DD-9A7C-AF642C8C827C}" destId="{1A41BB08-E588-4B72-8C24-59C29735657F}" srcOrd="8" destOrd="0" presId="urn:microsoft.com/office/officeart/2005/8/layout/radial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0AFC35B-80CA-4A80-B402-7466C1258A9D}"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D1AC9897-C7C7-4FCB-8397-053B004FC874}">
      <dgm:prSet phldrT="[Text]" custT="1"/>
      <dgm:spPr>
        <a:solidFill>
          <a:schemeClr val="accent1">
            <a:lumMod val="75000"/>
            <a:alpha val="98000"/>
          </a:schemeClr>
        </a:solidFill>
        <a:effectLst>
          <a:outerShdw blurRad="254000" dist="38100" dir="16200000" sx="101000" sy="101000" rotWithShape="0">
            <a:schemeClr val="accent1">
              <a:lumMod val="75000"/>
              <a:alpha val="90000"/>
            </a:schemeClr>
          </a:outerShdw>
        </a:effectLst>
      </dgm:spPr>
      <dgm:t>
        <a:bodyPr/>
        <a:lstStyle/>
        <a:p>
          <a:r>
            <a:rPr lang="en-US" sz="1600" dirty="0"/>
            <a:t>Power Automate</a:t>
          </a:r>
        </a:p>
      </dgm:t>
    </dgm:pt>
    <dgm:pt modelId="{E6722664-9CE3-4A7E-9C97-EBF46B811DDD}" type="parTrans" cxnId="{638815AF-433E-41EB-9082-5696D5870317}">
      <dgm:prSet/>
      <dgm:spPr/>
      <dgm:t>
        <a:bodyPr/>
        <a:lstStyle/>
        <a:p>
          <a:endParaRPr lang="en-US" sz="1600"/>
        </a:p>
      </dgm:t>
    </dgm:pt>
    <dgm:pt modelId="{E3205D96-4F69-4D16-AA08-38F2880514A0}" type="sibTrans" cxnId="{638815AF-433E-41EB-9082-5696D5870317}">
      <dgm:prSet/>
      <dgm:spPr/>
      <dgm:t>
        <a:bodyPr/>
        <a:lstStyle/>
        <a:p>
          <a:endParaRPr lang="en-US" sz="1600"/>
        </a:p>
      </dgm:t>
    </dgm:pt>
    <dgm:pt modelId="{24085B7E-1CBC-4C91-AF72-D6A8BC7505FE}">
      <dgm:prSet phldrT="[Text]" custT="1"/>
      <dgm:spPr>
        <a:solidFill>
          <a:schemeClr val="accent1">
            <a:lumMod val="75000"/>
            <a:alpha val="98000"/>
          </a:schemeClr>
        </a:solidFill>
      </dgm:spPr>
      <dgm:t>
        <a:bodyPr/>
        <a:lstStyle/>
        <a:p>
          <a:r>
            <a:rPr lang="en-US" sz="1600" dirty="0"/>
            <a:t>300+ Data sources</a:t>
          </a:r>
        </a:p>
      </dgm:t>
    </dgm:pt>
    <dgm:pt modelId="{F091B1CB-1A2A-4256-BC15-7628E693D7A3}" type="parTrans" cxnId="{798BAC7C-3832-436B-A11C-6289E22576C2}">
      <dgm:prSet/>
      <dgm:spPr/>
      <dgm:t>
        <a:bodyPr/>
        <a:lstStyle/>
        <a:p>
          <a:endParaRPr lang="en-US" sz="1600"/>
        </a:p>
      </dgm:t>
    </dgm:pt>
    <dgm:pt modelId="{8515D10E-E8E5-4985-B228-3C82F18149F4}" type="sibTrans" cxnId="{798BAC7C-3832-436B-A11C-6289E22576C2}">
      <dgm:prSet/>
      <dgm:spPr/>
      <dgm:t>
        <a:bodyPr/>
        <a:lstStyle/>
        <a:p>
          <a:endParaRPr lang="en-US" sz="1600"/>
        </a:p>
      </dgm:t>
    </dgm:pt>
    <dgm:pt modelId="{4B22D76B-51B6-4A3F-BBD5-07363B34BE35}">
      <dgm:prSet phldrT="[Text]" custT="1"/>
      <dgm:spPr>
        <a:solidFill>
          <a:schemeClr val="accent1">
            <a:lumMod val="75000"/>
            <a:alpha val="98000"/>
          </a:schemeClr>
        </a:solidFill>
      </dgm:spPr>
      <dgm:t>
        <a:bodyPr/>
        <a:lstStyle/>
        <a:p>
          <a:r>
            <a:rPr lang="en-US" sz="1600" dirty="0"/>
            <a:t>Triggers</a:t>
          </a:r>
        </a:p>
      </dgm:t>
    </dgm:pt>
    <dgm:pt modelId="{82B2299B-59F9-4C7A-9B17-70EA14A28192}" type="parTrans" cxnId="{BA48CEC2-FB9E-4A1B-BE90-028E9C5CED15}">
      <dgm:prSet/>
      <dgm:spPr/>
      <dgm:t>
        <a:bodyPr/>
        <a:lstStyle/>
        <a:p>
          <a:endParaRPr lang="en-US" sz="1600"/>
        </a:p>
      </dgm:t>
    </dgm:pt>
    <dgm:pt modelId="{0F1C30A4-0B67-41A3-9499-02ECFDA7EFC3}" type="sibTrans" cxnId="{BA48CEC2-FB9E-4A1B-BE90-028E9C5CED15}">
      <dgm:prSet/>
      <dgm:spPr/>
      <dgm:t>
        <a:bodyPr/>
        <a:lstStyle/>
        <a:p>
          <a:endParaRPr lang="en-US" sz="1600"/>
        </a:p>
      </dgm:t>
    </dgm:pt>
    <dgm:pt modelId="{7B95C3BF-C24B-4DE2-A3A1-C27F6D3AC80A}">
      <dgm:prSet phldrT="[Text]" custT="1"/>
      <dgm:spPr>
        <a:solidFill>
          <a:schemeClr val="accent1">
            <a:lumMod val="60000"/>
            <a:lumOff val="40000"/>
          </a:schemeClr>
        </a:solidFill>
      </dgm:spPr>
      <dgm:t>
        <a:bodyPr/>
        <a:lstStyle/>
        <a:p>
          <a:r>
            <a:rPr lang="en-US" sz="1600" dirty="0"/>
            <a:t>Conditions</a:t>
          </a:r>
        </a:p>
        <a:p>
          <a:r>
            <a:rPr lang="en-US" sz="1600" dirty="0"/>
            <a:t>/Loops</a:t>
          </a:r>
        </a:p>
      </dgm:t>
    </dgm:pt>
    <dgm:pt modelId="{37C224B7-FECE-4843-810A-A521C30131A5}" type="parTrans" cxnId="{FAE7AF46-99E6-468F-8FB8-61F6366F11FB}">
      <dgm:prSet/>
      <dgm:spPr/>
      <dgm:t>
        <a:bodyPr/>
        <a:lstStyle/>
        <a:p>
          <a:endParaRPr lang="en-US" sz="1600"/>
        </a:p>
      </dgm:t>
    </dgm:pt>
    <dgm:pt modelId="{3A3687E0-16DE-4142-B129-A7A4565C8112}" type="sibTrans" cxnId="{FAE7AF46-99E6-468F-8FB8-61F6366F11FB}">
      <dgm:prSet/>
      <dgm:spPr/>
      <dgm:t>
        <a:bodyPr/>
        <a:lstStyle/>
        <a:p>
          <a:endParaRPr lang="en-US" sz="1600"/>
        </a:p>
      </dgm:t>
    </dgm:pt>
    <dgm:pt modelId="{3DBD5D7B-0326-4FEC-8EBD-E013B47C9F1B}">
      <dgm:prSet phldrT="[Text]" custT="1"/>
      <dgm:spPr>
        <a:solidFill>
          <a:schemeClr val="accent1">
            <a:lumMod val="75000"/>
            <a:alpha val="98000"/>
          </a:schemeClr>
        </a:solidFill>
      </dgm:spPr>
      <dgm:t>
        <a:bodyPr/>
        <a:lstStyle/>
        <a:p>
          <a:r>
            <a:rPr lang="en-US" sz="1600" dirty="0"/>
            <a:t>Actions</a:t>
          </a:r>
        </a:p>
      </dgm:t>
    </dgm:pt>
    <dgm:pt modelId="{CCBA1385-B0A0-4CB7-91E5-7F4F89B6E03D}" type="parTrans" cxnId="{96E9E87B-0441-4203-B37F-63B07589D7D3}">
      <dgm:prSet/>
      <dgm:spPr/>
      <dgm:t>
        <a:bodyPr/>
        <a:lstStyle/>
        <a:p>
          <a:endParaRPr lang="en-US" sz="1600"/>
        </a:p>
      </dgm:t>
    </dgm:pt>
    <dgm:pt modelId="{F1286D98-2C55-40F1-AA53-C04FDCAB164F}" type="sibTrans" cxnId="{96E9E87B-0441-4203-B37F-63B07589D7D3}">
      <dgm:prSet/>
      <dgm:spPr/>
      <dgm:t>
        <a:bodyPr/>
        <a:lstStyle/>
        <a:p>
          <a:endParaRPr lang="en-US" sz="1600"/>
        </a:p>
      </dgm:t>
    </dgm:pt>
    <dgm:pt modelId="{3ACD09C0-5372-43DD-9A7C-AF642C8C827C}" type="pres">
      <dgm:prSet presAssocID="{50AFC35B-80CA-4A80-B402-7466C1258A9D}" presName="cycle" presStyleCnt="0">
        <dgm:presLayoutVars>
          <dgm:chMax val="1"/>
          <dgm:dir/>
          <dgm:animLvl val="ctr"/>
          <dgm:resizeHandles val="exact"/>
        </dgm:presLayoutVars>
      </dgm:prSet>
      <dgm:spPr/>
    </dgm:pt>
    <dgm:pt modelId="{40B4E045-52F6-46C5-A70C-D244454D9BC1}" type="pres">
      <dgm:prSet presAssocID="{D1AC9897-C7C7-4FCB-8397-053B004FC874}" presName="centerShape" presStyleLbl="node0" presStyleIdx="0" presStyleCnt="1" custLinFactNeighborX="-3445" custLinFactNeighborY="-17934"/>
      <dgm:spPr/>
    </dgm:pt>
    <dgm:pt modelId="{05C61300-8039-41CA-BADC-49128DB00155}" type="pres">
      <dgm:prSet presAssocID="{F091B1CB-1A2A-4256-BC15-7628E693D7A3}" presName="parTrans" presStyleLbl="bgSibTrans2D1" presStyleIdx="0" presStyleCnt="4"/>
      <dgm:spPr/>
    </dgm:pt>
    <dgm:pt modelId="{AB79E945-FD38-4059-B470-8191467B9C5C}" type="pres">
      <dgm:prSet presAssocID="{24085B7E-1CBC-4C91-AF72-D6A8BC7505FE}" presName="node" presStyleLbl="node1" presStyleIdx="0" presStyleCnt="4" custRadScaleRad="43996" custRadScaleInc="-207850">
        <dgm:presLayoutVars>
          <dgm:bulletEnabled val="1"/>
        </dgm:presLayoutVars>
      </dgm:prSet>
      <dgm:spPr/>
    </dgm:pt>
    <dgm:pt modelId="{9FA3F35A-8B49-46BD-B311-2011B16C6400}" type="pres">
      <dgm:prSet presAssocID="{82B2299B-59F9-4C7A-9B17-70EA14A28192}" presName="parTrans" presStyleLbl="bgSibTrans2D1" presStyleIdx="1" presStyleCnt="4"/>
      <dgm:spPr/>
    </dgm:pt>
    <dgm:pt modelId="{ED29AB18-8E6A-4133-9B32-B4367B971736}" type="pres">
      <dgm:prSet presAssocID="{4B22D76B-51B6-4A3F-BBD5-07363B34BE35}" presName="node" presStyleLbl="node1" presStyleIdx="1" presStyleCnt="4" custRadScaleRad="126659" custRadScaleInc="-46601">
        <dgm:presLayoutVars>
          <dgm:bulletEnabled val="1"/>
        </dgm:presLayoutVars>
      </dgm:prSet>
      <dgm:spPr/>
    </dgm:pt>
    <dgm:pt modelId="{A9D7B79E-F7CE-480F-A29B-2CD91DCF8858}" type="pres">
      <dgm:prSet presAssocID="{37C224B7-FECE-4843-810A-A521C30131A5}" presName="parTrans" presStyleLbl="bgSibTrans2D1" presStyleIdx="2" presStyleCnt="4"/>
      <dgm:spPr/>
    </dgm:pt>
    <dgm:pt modelId="{D27E0808-0511-4F45-A005-E97DCC339720}" type="pres">
      <dgm:prSet presAssocID="{7B95C3BF-C24B-4DE2-A3A1-C27F6D3AC80A}" presName="node" presStyleLbl="node1" presStyleIdx="2" presStyleCnt="4" custRadScaleRad="119518" custRadScaleInc="-62528">
        <dgm:presLayoutVars>
          <dgm:bulletEnabled val="1"/>
        </dgm:presLayoutVars>
      </dgm:prSet>
      <dgm:spPr/>
    </dgm:pt>
    <dgm:pt modelId="{660C2F9B-4CD1-48F0-830B-B24113BA874E}" type="pres">
      <dgm:prSet presAssocID="{CCBA1385-B0A0-4CB7-91E5-7F4F89B6E03D}" presName="parTrans" presStyleLbl="bgSibTrans2D1" presStyleIdx="3" presStyleCnt="4"/>
      <dgm:spPr/>
    </dgm:pt>
    <dgm:pt modelId="{1A41BB08-E588-4B72-8C24-59C29735657F}" type="pres">
      <dgm:prSet presAssocID="{3DBD5D7B-0326-4FEC-8EBD-E013B47C9F1B}" presName="node" presStyleLbl="node1" presStyleIdx="3" presStyleCnt="4" custRadScaleRad="115731" custRadScaleInc="-70448">
        <dgm:presLayoutVars>
          <dgm:bulletEnabled val="1"/>
        </dgm:presLayoutVars>
      </dgm:prSet>
      <dgm:spPr/>
    </dgm:pt>
  </dgm:ptLst>
  <dgm:cxnLst>
    <dgm:cxn modelId="{EA08A302-E830-43AD-9912-1759BCE23809}" type="presOf" srcId="{82B2299B-59F9-4C7A-9B17-70EA14A28192}" destId="{9FA3F35A-8B49-46BD-B311-2011B16C6400}" srcOrd="0" destOrd="0" presId="urn:microsoft.com/office/officeart/2005/8/layout/radial4"/>
    <dgm:cxn modelId="{385B951E-E070-496B-9B6C-6082C94E9AA6}" type="presOf" srcId="{F091B1CB-1A2A-4256-BC15-7628E693D7A3}" destId="{05C61300-8039-41CA-BADC-49128DB00155}" srcOrd="0" destOrd="0" presId="urn:microsoft.com/office/officeart/2005/8/layout/radial4"/>
    <dgm:cxn modelId="{FAE7AF46-99E6-468F-8FB8-61F6366F11FB}" srcId="{D1AC9897-C7C7-4FCB-8397-053B004FC874}" destId="{7B95C3BF-C24B-4DE2-A3A1-C27F6D3AC80A}" srcOrd="2" destOrd="0" parTransId="{37C224B7-FECE-4843-810A-A521C30131A5}" sibTransId="{3A3687E0-16DE-4142-B129-A7A4565C8112}"/>
    <dgm:cxn modelId="{96E9E87B-0441-4203-B37F-63B07589D7D3}" srcId="{D1AC9897-C7C7-4FCB-8397-053B004FC874}" destId="{3DBD5D7B-0326-4FEC-8EBD-E013B47C9F1B}" srcOrd="3" destOrd="0" parTransId="{CCBA1385-B0A0-4CB7-91E5-7F4F89B6E03D}" sibTransId="{F1286D98-2C55-40F1-AA53-C04FDCAB164F}"/>
    <dgm:cxn modelId="{798BAC7C-3832-436B-A11C-6289E22576C2}" srcId="{D1AC9897-C7C7-4FCB-8397-053B004FC874}" destId="{24085B7E-1CBC-4C91-AF72-D6A8BC7505FE}" srcOrd="0" destOrd="0" parTransId="{F091B1CB-1A2A-4256-BC15-7628E693D7A3}" sibTransId="{8515D10E-E8E5-4985-B228-3C82F18149F4}"/>
    <dgm:cxn modelId="{08454282-393E-486B-9A0D-88FA3EF89872}" type="presOf" srcId="{3DBD5D7B-0326-4FEC-8EBD-E013B47C9F1B}" destId="{1A41BB08-E588-4B72-8C24-59C29735657F}" srcOrd="0" destOrd="0" presId="urn:microsoft.com/office/officeart/2005/8/layout/radial4"/>
    <dgm:cxn modelId="{557FC489-C216-47B8-A2B9-F2C9C56E8268}" type="presOf" srcId="{37C224B7-FECE-4843-810A-A521C30131A5}" destId="{A9D7B79E-F7CE-480F-A29B-2CD91DCF8858}" srcOrd="0" destOrd="0" presId="urn:microsoft.com/office/officeart/2005/8/layout/radial4"/>
    <dgm:cxn modelId="{5743EF99-D323-4471-871C-32B26285F0AE}" type="presOf" srcId="{50AFC35B-80CA-4A80-B402-7466C1258A9D}" destId="{3ACD09C0-5372-43DD-9A7C-AF642C8C827C}" srcOrd="0" destOrd="0" presId="urn:microsoft.com/office/officeart/2005/8/layout/radial4"/>
    <dgm:cxn modelId="{85F53FA1-4283-4D99-A7B8-59DB824FF708}" type="presOf" srcId="{24085B7E-1CBC-4C91-AF72-D6A8BC7505FE}" destId="{AB79E945-FD38-4059-B470-8191467B9C5C}" srcOrd="0" destOrd="0" presId="urn:microsoft.com/office/officeart/2005/8/layout/radial4"/>
    <dgm:cxn modelId="{0CEF0EA4-B0F2-4880-94EF-F10FF709DCDA}" type="presOf" srcId="{D1AC9897-C7C7-4FCB-8397-053B004FC874}" destId="{40B4E045-52F6-46C5-A70C-D244454D9BC1}" srcOrd="0" destOrd="0" presId="urn:microsoft.com/office/officeart/2005/8/layout/radial4"/>
    <dgm:cxn modelId="{638815AF-433E-41EB-9082-5696D5870317}" srcId="{50AFC35B-80CA-4A80-B402-7466C1258A9D}" destId="{D1AC9897-C7C7-4FCB-8397-053B004FC874}" srcOrd="0" destOrd="0" parTransId="{E6722664-9CE3-4A7E-9C97-EBF46B811DDD}" sibTransId="{E3205D96-4F69-4D16-AA08-38F2880514A0}"/>
    <dgm:cxn modelId="{F19957B3-69ED-41F4-9489-AE965E1D5001}" type="presOf" srcId="{7B95C3BF-C24B-4DE2-A3A1-C27F6D3AC80A}" destId="{D27E0808-0511-4F45-A005-E97DCC339720}" srcOrd="0" destOrd="0" presId="urn:microsoft.com/office/officeart/2005/8/layout/radial4"/>
    <dgm:cxn modelId="{BA48CEC2-FB9E-4A1B-BE90-028E9C5CED15}" srcId="{D1AC9897-C7C7-4FCB-8397-053B004FC874}" destId="{4B22D76B-51B6-4A3F-BBD5-07363B34BE35}" srcOrd="1" destOrd="0" parTransId="{82B2299B-59F9-4C7A-9B17-70EA14A28192}" sibTransId="{0F1C30A4-0B67-41A3-9499-02ECFDA7EFC3}"/>
    <dgm:cxn modelId="{3745BECE-8007-4D4E-90D7-83FA3DA4F0E4}" type="presOf" srcId="{CCBA1385-B0A0-4CB7-91E5-7F4F89B6E03D}" destId="{660C2F9B-4CD1-48F0-830B-B24113BA874E}" srcOrd="0" destOrd="0" presId="urn:microsoft.com/office/officeart/2005/8/layout/radial4"/>
    <dgm:cxn modelId="{252F8CD7-8CCF-4EF1-BFCA-47CA22444871}" type="presOf" srcId="{4B22D76B-51B6-4A3F-BBD5-07363B34BE35}" destId="{ED29AB18-8E6A-4133-9B32-B4367B971736}" srcOrd="0" destOrd="0" presId="urn:microsoft.com/office/officeart/2005/8/layout/radial4"/>
    <dgm:cxn modelId="{2AD3C419-0791-4F78-83E3-D84509C234D8}" type="presParOf" srcId="{3ACD09C0-5372-43DD-9A7C-AF642C8C827C}" destId="{40B4E045-52F6-46C5-A70C-D244454D9BC1}" srcOrd="0" destOrd="0" presId="urn:microsoft.com/office/officeart/2005/8/layout/radial4"/>
    <dgm:cxn modelId="{CB03C6A0-098B-48A7-BBEC-3BCC56B21FF3}" type="presParOf" srcId="{3ACD09C0-5372-43DD-9A7C-AF642C8C827C}" destId="{05C61300-8039-41CA-BADC-49128DB00155}" srcOrd="1" destOrd="0" presId="urn:microsoft.com/office/officeart/2005/8/layout/radial4"/>
    <dgm:cxn modelId="{5AF52BC4-23C1-4517-B5E8-BCDD14E465D9}" type="presParOf" srcId="{3ACD09C0-5372-43DD-9A7C-AF642C8C827C}" destId="{AB79E945-FD38-4059-B470-8191467B9C5C}" srcOrd="2" destOrd="0" presId="urn:microsoft.com/office/officeart/2005/8/layout/radial4"/>
    <dgm:cxn modelId="{AD7EDC6C-5D99-4572-99FD-44F392500F6C}" type="presParOf" srcId="{3ACD09C0-5372-43DD-9A7C-AF642C8C827C}" destId="{9FA3F35A-8B49-46BD-B311-2011B16C6400}" srcOrd="3" destOrd="0" presId="urn:microsoft.com/office/officeart/2005/8/layout/radial4"/>
    <dgm:cxn modelId="{3EE817E9-F88B-410D-B408-9AAD17EFA171}" type="presParOf" srcId="{3ACD09C0-5372-43DD-9A7C-AF642C8C827C}" destId="{ED29AB18-8E6A-4133-9B32-B4367B971736}" srcOrd="4" destOrd="0" presId="urn:microsoft.com/office/officeart/2005/8/layout/radial4"/>
    <dgm:cxn modelId="{7D1746AE-CC07-4348-AE9B-1A8C0A2A889D}" type="presParOf" srcId="{3ACD09C0-5372-43DD-9A7C-AF642C8C827C}" destId="{A9D7B79E-F7CE-480F-A29B-2CD91DCF8858}" srcOrd="5" destOrd="0" presId="urn:microsoft.com/office/officeart/2005/8/layout/radial4"/>
    <dgm:cxn modelId="{F6A144F5-7106-46AE-A4C3-1D1F4FDA0D39}" type="presParOf" srcId="{3ACD09C0-5372-43DD-9A7C-AF642C8C827C}" destId="{D27E0808-0511-4F45-A005-E97DCC339720}" srcOrd="6" destOrd="0" presId="urn:microsoft.com/office/officeart/2005/8/layout/radial4"/>
    <dgm:cxn modelId="{7598C974-7EE6-4619-AF21-22CCC625D35D}" type="presParOf" srcId="{3ACD09C0-5372-43DD-9A7C-AF642C8C827C}" destId="{660C2F9B-4CD1-48F0-830B-B24113BA874E}" srcOrd="7" destOrd="0" presId="urn:microsoft.com/office/officeart/2005/8/layout/radial4"/>
    <dgm:cxn modelId="{2AD45781-D3B8-485B-9CDD-709A1DD91D1C}" type="presParOf" srcId="{3ACD09C0-5372-43DD-9A7C-AF642C8C827C}" destId="{1A41BB08-E588-4B72-8C24-59C29735657F}" srcOrd="8" destOrd="0" presId="urn:microsoft.com/office/officeart/2005/8/layout/radial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CD11A65-5648-4C79-AC71-553B61658A7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5664258-86E4-48FF-9B0B-6D88088651DD}">
      <dgm:prSet phldrT="[Text]" custT="1"/>
      <dgm:spPr/>
      <dgm:t>
        <a:bodyPr/>
        <a:lstStyle/>
        <a:p>
          <a:r>
            <a:rPr lang="en-US" sz="2400" dirty="0"/>
            <a:t>SharePoint Designer is a separate software Installation (last released version is 2013)</a:t>
          </a:r>
        </a:p>
      </dgm:t>
    </dgm:pt>
    <dgm:pt modelId="{ED502C53-14FF-4480-B0EB-013BCB16F962}" type="parTrans" cxnId="{2BBD71BE-C1F1-4B04-8B4E-7D13F4BCA934}">
      <dgm:prSet/>
      <dgm:spPr/>
      <dgm:t>
        <a:bodyPr/>
        <a:lstStyle/>
        <a:p>
          <a:endParaRPr lang="en-US"/>
        </a:p>
      </dgm:t>
    </dgm:pt>
    <dgm:pt modelId="{FEF83070-AEB1-4DBF-AEEE-E353A34E6D58}" type="sibTrans" cxnId="{2BBD71BE-C1F1-4B04-8B4E-7D13F4BCA934}">
      <dgm:prSet/>
      <dgm:spPr/>
      <dgm:t>
        <a:bodyPr/>
        <a:lstStyle/>
        <a:p>
          <a:endParaRPr lang="en-US"/>
        </a:p>
      </dgm:t>
    </dgm:pt>
    <dgm:pt modelId="{35AE0026-306D-4FF9-845A-78FE0BF90EB9}">
      <dgm:prSet phldrT="[Text]" custT="1"/>
      <dgm:spPr/>
      <dgm:t>
        <a:bodyPr/>
        <a:lstStyle/>
        <a:p>
          <a:r>
            <a:rPr lang="en-US" sz="2400" dirty="0"/>
            <a:t>Power Automate does not require installation, only a browser and internet connection are necessary</a:t>
          </a:r>
        </a:p>
      </dgm:t>
    </dgm:pt>
    <dgm:pt modelId="{F64E4BF9-2C57-4156-90D9-1C60E003D81E}" type="parTrans" cxnId="{1321CDEC-820E-4323-8880-6096546838CB}">
      <dgm:prSet/>
      <dgm:spPr/>
      <dgm:t>
        <a:bodyPr/>
        <a:lstStyle/>
        <a:p>
          <a:endParaRPr lang="en-US"/>
        </a:p>
      </dgm:t>
    </dgm:pt>
    <dgm:pt modelId="{7BDC560B-DB76-481B-BC67-1E2D2856B294}" type="sibTrans" cxnId="{1321CDEC-820E-4323-8880-6096546838CB}">
      <dgm:prSet/>
      <dgm:spPr/>
      <dgm:t>
        <a:bodyPr/>
        <a:lstStyle/>
        <a:p>
          <a:endParaRPr lang="en-US"/>
        </a:p>
      </dgm:t>
    </dgm:pt>
    <dgm:pt modelId="{F61A1A7F-BB20-42BA-9973-D796A031F7CB}" type="pres">
      <dgm:prSet presAssocID="{2CD11A65-5648-4C79-AC71-553B61658A78}" presName="Name0" presStyleCnt="0">
        <dgm:presLayoutVars>
          <dgm:dir/>
          <dgm:animLvl val="lvl"/>
          <dgm:resizeHandles val="exact"/>
        </dgm:presLayoutVars>
      </dgm:prSet>
      <dgm:spPr/>
    </dgm:pt>
    <dgm:pt modelId="{B34DC5B2-D857-4503-A7AB-9C520252E791}" type="pres">
      <dgm:prSet presAssocID="{B5664258-86E4-48FF-9B0B-6D88088651DD}" presName="linNode" presStyleCnt="0"/>
      <dgm:spPr/>
    </dgm:pt>
    <dgm:pt modelId="{756642F3-43F0-41F9-AB0B-D312E5F17207}" type="pres">
      <dgm:prSet presAssocID="{B5664258-86E4-48FF-9B0B-6D88088651DD}" presName="parentText" presStyleLbl="node1" presStyleIdx="0" presStyleCnt="2" custScaleX="126027" custScaleY="287421" custLinFactNeighborX="-73378" custLinFactNeighborY="13742">
        <dgm:presLayoutVars>
          <dgm:chMax val="1"/>
          <dgm:bulletEnabled val="1"/>
        </dgm:presLayoutVars>
      </dgm:prSet>
      <dgm:spPr/>
    </dgm:pt>
    <dgm:pt modelId="{873B855C-7A26-4F57-A46D-7C8BDCA46CCF}" type="pres">
      <dgm:prSet presAssocID="{FEF83070-AEB1-4DBF-AEEE-E353A34E6D58}" presName="sp" presStyleCnt="0"/>
      <dgm:spPr/>
    </dgm:pt>
    <dgm:pt modelId="{ABEEE6DF-05BD-4574-B6B6-BC22FE2A33A8}" type="pres">
      <dgm:prSet presAssocID="{35AE0026-306D-4FF9-845A-78FE0BF90EB9}" presName="linNode" presStyleCnt="0"/>
      <dgm:spPr/>
    </dgm:pt>
    <dgm:pt modelId="{E0B69AA6-7F51-4559-BEBF-8064EF2455B9}" type="pres">
      <dgm:prSet presAssocID="{35AE0026-306D-4FF9-845A-78FE0BF90EB9}" presName="parentText" presStyleLbl="node1" presStyleIdx="1" presStyleCnt="2" custScaleX="132249" custScaleY="306372" custLinFactY="-100000" custLinFactNeighborX="67386" custLinFactNeighborY="-173749">
        <dgm:presLayoutVars>
          <dgm:chMax val="1"/>
          <dgm:bulletEnabled val="1"/>
        </dgm:presLayoutVars>
      </dgm:prSet>
      <dgm:spPr/>
    </dgm:pt>
  </dgm:ptLst>
  <dgm:cxnLst>
    <dgm:cxn modelId="{DBD59435-E8E0-4F73-AF6C-201EE2A2F539}" type="presOf" srcId="{35AE0026-306D-4FF9-845A-78FE0BF90EB9}" destId="{E0B69AA6-7F51-4559-BEBF-8064EF2455B9}" srcOrd="0" destOrd="0" presId="urn:microsoft.com/office/officeart/2005/8/layout/vList5"/>
    <dgm:cxn modelId="{25C0C77D-DC8B-4F65-B2C8-8A5852A1599A}" type="presOf" srcId="{2CD11A65-5648-4C79-AC71-553B61658A78}" destId="{F61A1A7F-BB20-42BA-9973-D796A031F7CB}" srcOrd="0" destOrd="0" presId="urn:microsoft.com/office/officeart/2005/8/layout/vList5"/>
    <dgm:cxn modelId="{D16CF2A7-1381-492E-A861-0A630C8006A0}" type="presOf" srcId="{B5664258-86E4-48FF-9B0B-6D88088651DD}" destId="{756642F3-43F0-41F9-AB0B-D312E5F17207}" srcOrd="0" destOrd="0" presId="urn:microsoft.com/office/officeart/2005/8/layout/vList5"/>
    <dgm:cxn modelId="{2BBD71BE-C1F1-4B04-8B4E-7D13F4BCA934}" srcId="{2CD11A65-5648-4C79-AC71-553B61658A78}" destId="{B5664258-86E4-48FF-9B0B-6D88088651DD}" srcOrd="0" destOrd="0" parTransId="{ED502C53-14FF-4480-B0EB-013BCB16F962}" sibTransId="{FEF83070-AEB1-4DBF-AEEE-E353A34E6D58}"/>
    <dgm:cxn modelId="{1321CDEC-820E-4323-8880-6096546838CB}" srcId="{2CD11A65-5648-4C79-AC71-553B61658A78}" destId="{35AE0026-306D-4FF9-845A-78FE0BF90EB9}" srcOrd="1" destOrd="0" parTransId="{F64E4BF9-2C57-4156-90D9-1C60E003D81E}" sibTransId="{7BDC560B-DB76-481B-BC67-1E2D2856B294}"/>
    <dgm:cxn modelId="{5776A269-75CE-48F6-A3EB-9332125F834C}" type="presParOf" srcId="{F61A1A7F-BB20-42BA-9973-D796A031F7CB}" destId="{B34DC5B2-D857-4503-A7AB-9C520252E791}" srcOrd="0" destOrd="0" presId="urn:microsoft.com/office/officeart/2005/8/layout/vList5"/>
    <dgm:cxn modelId="{DF7F15F1-9DA4-4B37-8E34-6BC7917A7E2C}" type="presParOf" srcId="{B34DC5B2-D857-4503-A7AB-9C520252E791}" destId="{756642F3-43F0-41F9-AB0B-D312E5F17207}" srcOrd="0" destOrd="0" presId="urn:microsoft.com/office/officeart/2005/8/layout/vList5"/>
    <dgm:cxn modelId="{A5F0904D-4ED6-4485-9566-EDEA5B7571B2}" type="presParOf" srcId="{F61A1A7F-BB20-42BA-9973-D796A031F7CB}" destId="{873B855C-7A26-4F57-A46D-7C8BDCA46CCF}" srcOrd="1" destOrd="0" presId="urn:microsoft.com/office/officeart/2005/8/layout/vList5"/>
    <dgm:cxn modelId="{3F82F1C8-1901-4594-B04F-85A8A8006762}" type="presParOf" srcId="{F61A1A7F-BB20-42BA-9973-D796A031F7CB}" destId="{ABEEE6DF-05BD-4574-B6B6-BC22FE2A33A8}" srcOrd="2" destOrd="0" presId="urn:microsoft.com/office/officeart/2005/8/layout/vList5"/>
    <dgm:cxn modelId="{0F01129B-16DB-432D-9F0D-F91DA4040621}" type="presParOf" srcId="{ABEEE6DF-05BD-4574-B6B6-BC22FE2A33A8}" destId="{E0B69AA6-7F51-4559-BEBF-8064EF2455B9}" srcOrd="0"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CD11A65-5648-4C79-AC71-553B61658A7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5664258-86E4-48FF-9B0B-6D88088651DD}">
      <dgm:prSet phldrT="[Text]" custT="1"/>
      <dgm:spPr/>
      <dgm:t>
        <a:bodyPr/>
        <a:lstStyle/>
        <a:p>
          <a:endParaRPr lang="en-US" sz="2400" dirty="0"/>
        </a:p>
        <a:p>
          <a:r>
            <a:rPr lang="en-US" sz="2400" dirty="0"/>
            <a:t>The SharePoint Designer user interface is focused at the top ribbon</a:t>
          </a:r>
        </a:p>
        <a:p>
          <a:endParaRPr lang="en-US" sz="2400" dirty="0"/>
        </a:p>
      </dgm:t>
    </dgm:pt>
    <dgm:pt modelId="{ED502C53-14FF-4480-B0EB-013BCB16F962}" type="parTrans" cxnId="{2BBD71BE-C1F1-4B04-8B4E-7D13F4BCA934}">
      <dgm:prSet/>
      <dgm:spPr/>
      <dgm:t>
        <a:bodyPr/>
        <a:lstStyle/>
        <a:p>
          <a:endParaRPr lang="en-US"/>
        </a:p>
      </dgm:t>
    </dgm:pt>
    <dgm:pt modelId="{FEF83070-AEB1-4DBF-AEEE-E353A34E6D58}" type="sibTrans" cxnId="{2BBD71BE-C1F1-4B04-8B4E-7D13F4BCA934}">
      <dgm:prSet/>
      <dgm:spPr/>
      <dgm:t>
        <a:bodyPr/>
        <a:lstStyle/>
        <a:p>
          <a:endParaRPr lang="en-US"/>
        </a:p>
      </dgm:t>
    </dgm:pt>
    <dgm:pt modelId="{35AE0026-306D-4FF9-845A-78FE0BF90EB9}">
      <dgm:prSet phldrT="[Text]" custT="1"/>
      <dgm:spPr/>
      <dgm:t>
        <a:bodyPr/>
        <a:lstStyle/>
        <a:p>
          <a:r>
            <a:rPr lang="en-US" sz="2400" dirty="0"/>
            <a:t>Power Automate groups functional aspects together via the left Navigation menu</a:t>
          </a:r>
        </a:p>
      </dgm:t>
    </dgm:pt>
    <dgm:pt modelId="{F64E4BF9-2C57-4156-90D9-1C60E003D81E}" type="parTrans" cxnId="{1321CDEC-820E-4323-8880-6096546838CB}">
      <dgm:prSet/>
      <dgm:spPr/>
      <dgm:t>
        <a:bodyPr/>
        <a:lstStyle/>
        <a:p>
          <a:endParaRPr lang="en-US"/>
        </a:p>
      </dgm:t>
    </dgm:pt>
    <dgm:pt modelId="{7BDC560B-DB76-481B-BC67-1E2D2856B294}" type="sibTrans" cxnId="{1321CDEC-820E-4323-8880-6096546838CB}">
      <dgm:prSet/>
      <dgm:spPr/>
      <dgm:t>
        <a:bodyPr/>
        <a:lstStyle/>
        <a:p>
          <a:endParaRPr lang="en-US"/>
        </a:p>
      </dgm:t>
    </dgm:pt>
    <dgm:pt modelId="{F61A1A7F-BB20-42BA-9973-D796A031F7CB}" type="pres">
      <dgm:prSet presAssocID="{2CD11A65-5648-4C79-AC71-553B61658A78}" presName="Name0" presStyleCnt="0">
        <dgm:presLayoutVars>
          <dgm:dir/>
          <dgm:animLvl val="lvl"/>
          <dgm:resizeHandles val="exact"/>
        </dgm:presLayoutVars>
      </dgm:prSet>
      <dgm:spPr/>
    </dgm:pt>
    <dgm:pt modelId="{B34DC5B2-D857-4503-A7AB-9C520252E791}" type="pres">
      <dgm:prSet presAssocID="{B5664258-86E4-48FF-9B0B-6D88088651DD}" presName="linNode" presStyleCnt="0"/>
      <dgm:spPr/>
    </dgm:pt>
    <dgm:pt modelId="{756642F3-43F0-41F9-AB0B-D312E5F17207}" type="pres">
      <dgm:prSet presAssocID="{B5664258-86E4-48FF-9B0B-6D88088651DD}" presName="parentText" presStyleLbl="node1" presStyleIdx="0" presStyleCnt="2" custScaleX="90248" custScaleY="33603" custLinFactNeighborX="-70573" custLinFactNeighborY="-5084">
        <dgm:presLayoutVars>
          <dgm:chMax val="1"/>
          <dgm:bulletEnabled val="1"/>
        </dgm:presLayoutVars>
      </dgm:prSet>
      <dgm:spPr/>
    </dgm:pt>
    <dgm:pt modelId="{873B855C-7A26-4F57-A46D-7C8BDCA46CCF}" type="pres">
      <dgm:prSet presAssocID="{FEF83070-AEB1-4DBF-AEEE-E353A34E6D58}" presName="sp" presStyleCnt="0"/>
      <dgm:spPr/>
    </dgm:pt>
    <dgm:pt modelId="{ABEEE6DF-05BD-4574-B6B6-BC22FE2A33A8}" type="pres">
      <dgm:prSet presAssocID="{35AE0026-306D-4FF9-845A-78FE0BF90EB9}" presName="linNode" presStyleCnt="0"/>
      <dgm:spPr/>
    </dgm:pt>
    <dgm:pt modelId="{E0B69AA6-7F51-4559-BEBF-8064EF2455B9}" type="pres">
      <dgm:prSet presAssocID="{35AE0026-306D-4FF9-845A-78FE0BF90EB9}" presName="parentText" presStyleLbl="node1" presStyleIdx="1" presStyleCnt="2" custScaleX="94072" custScaleY="44164" custLinFactNeighborX="-74212" custLinFactNeighborY="-1106">
        <dgm:presLayoutVars>
          <dgm:chMax val="1"/>
          <dgm:bulletEnabled val="1"/>
        </dgm:presLayoutVars>
      </dgm:prSet>
      <dgm:spPr/>
    </dgm:pt>
  </dgm:ptLst>
  <dgm:cxnLst>
    <dgm:cxn modelId="{DBD59435-E8E0-4F73-AF6C-201EE2A2F539}" type="presOf" srcId="{35AE0026-306D-4FF9-845A-78FE0BF90EB9}" destId="{E0B69AA6-7F51-4559-BEBF-8064EF2455B9}" srcOrd="0" destOrd="0" presId="urn:microsoft.com/office/officeart/2005/8/layout/vList5"/>
    <dgm:cxn modelId="{25C0C77D-DC8B-4F65-B2C8-8A5852A1599A}" type="presOf" srcId="{2CD11A65-5648-4C79-AC71-553B61658A78}" destId="{F61A1A7F-BB20-42BA-9973-D796A031F7CB}" srcOrd="0" destOrd="0" presId="urn:microsoft.com/office/officeart/2005/8/layout/vList5"/>
    <dgm:cxn modelId="{D16CF2A7-1381-492E-A861-0A630C8006A0}" type="presOf" srcId="{B5664258-86E4-48FF-9B0B-6D88088651DD}" destId="{756642F3-43F0-41F9-AB0B-D312E5F17207}" srcOrd="0" destOrd="0" presId="urn:microsoft.com/office/officeart/2005/8/layout/vList5"/>
    <dgm:cxn modelId="{2BBD71BE-C1F1-4B04-8B4E-7D13F4BCA934}" srcId="{2CD11A65-5648-4C79-AC71-553B61658A78}" destId="{B5664258-86E4-48FF-9B0B-6D88088651DD}" srcOrd="0" destOrd="0" parTransId="{ED502C53-14FF-4480-B0EB-013BCB16F962}" sibTransId="{FEF83070-AEB1-4DBF-AEEE-E353A34E6D58}"/>
    <dgm:cxn modelId="{1321CDEC-820E-4323-8880-6096546838CB}" srcId="{2CD11A65-5648-4C79-AC71-553B61658A78}" destId="{35AE0026-306D-4FF9-845A-78FE0BF90EB9}" srcOrd="1" destOrd="0" parTransId="{F64E4BF9-2C57-4156-90D9-1C60E003D81E}" sibTransId="{7BDC560B-DB76-481B-BC67-1E2D2856B294}"/>
    <dgm:cxn modelId="{5776A269-75CE-48F6-A3EB-9332125F834C}" type="presParOf" srcId="{F61A1A7F-BB20-42BA-9973-D796A031F7CB}" destId="{B34DC5B2-D857-4503-A7AB-9C520252E791}" srcOrd="0" destOrd="0" presId="urn:microsoft.com/office/officeart/2005/8/layout/vList5"/>
    <dgm:cxn modelId="{DF7F15F1-9DA4-4B37-8E34-6BC7917A7E2C}" type="presParOf" srcId="{B34DC5B2-D857-4503-A7AB-9C520252E791}" destId="{756642F3-43F0-41F9-AB0B-D312E5F17207}" srcOrd="0" destOrd="0" presId="urn:microsoft.com/office/officeart/2005/8/layout/vList5"/>
    <dgm:cxn modelId="{A5F0904D-4ED6-4485-9566-EDEA5B7571B2}" type="presParOf" srcId="{F61A1A7F-BB20-42BA-9973-D796A031F7CB}" destId="{873B855C-7A26-4F57-A46D-7C8BDCA46CCF}" srcOrd="1" destOrd="0" presId="urn:microsoft.com/office/officeart/2005/8/layout/vList5"/>
    <dgm:cxn modelId="{3F82F1C8-1901-4594-B04F-85A8A8006762}" type="presParOf" srcId="{F61A1A7F-BB20-42BA-9973-D796A031F7CB}" destId="{ABEEE6DF-05BD-4574-B6B6-BC22FE2A33A8}" srcOrd="2" destOrd="0" presId="urn:microsoft.com/office/officeart/2005/8/layout/vList5"/>
    <dgm:cxn modelId="{0F01129B-16DB-432D-9F0D-F91DA4040621}" type="presParOf" srcId="{ABEEE6DF-05BD-4574-B6B6-BC22FE2A33A8}" destId="{E0B69AA6-7F51-4559-BEBF-8064EF2455B9}" srcOrd="0"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CD11A65-5648-4C79-AC71-553B61658A7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5664258-86E4-48FF-9B0B-6D88088651DD}">
      <dgm:prSet phldrT="[Text]" custT="1"/>
      <dgm:spPr/>
      <dgm:t>
        <a:bodyPr/>
        <a:lstStyle/>
        <a:p>
          <a:r>
            <a:rPr lang="en-US" sz="2400" dirty="0"/>
            <a:t>SharePoint Designer</a:t>
          </a:r>
        </a:p>
      </dgm:t>
    </dgm:pt>
    <dgm:pt modelId="{ED502C53-14FF-4480-B0EB-013BCB16F962}" type="parTrans" cxnId="{2BBD71BE-C1F1-4B04-8B4E-7D13F4BCA934}">
      <dgm:prSet/>
      <dgm:spPr/>
      <dgm:t>
        <a:bodyPr/>
        <a:lstStyle/>
        <a:p>
          <a:endParaRPr lang="en-US"/>
        </a:p>
      </dgm:t>
    </dgm:pt>
    <dgm:pt modelId="{FEF83070-AEB1-4DBF-AEEE-E353A34E6D58}" type="sibTrans" cxnId="{2BBD71BE-C1F1-4B04-8B4E-7D13F4BCA934}">
      <dgm:prSet/>
      <dgm:spPr/>
      <dgm:t>
        <a:bodyPr/>
        <a:lstStyle/>
        <a:p>
          <a:endParaRPr lang="en-US"/>
        </a:p>
      </dgm:t>
    </dgm:pt>
    <dgm:pt modelId="{35AE0026-306D-4FF9-845A-78FE0BF90EB9}">
      <dgm:prSet phldrT="[Text]" custT="1"/>
      <dgm:spPr/>
      <dgm:t>
        <a:bodyPr/>
        <a:lstStyle/>
        <a:p>
          <a:r>
            <a:rPr lang="en-US" sz="2400" dirty="0"/>
            <a:t>Power Automate </a:t>
          </a:r>
        </a:p>
      </dgm:t>
    </dgm:pt>
    <dgm:pt modelId="{F64E4BF9-2C57-4156-90D9-1C60E003D81E}" type="parTrans" cxnId="{1321CDEC-820E-4323-8880-6096546838CB}">
      <dgm:prSet/>
      <dgm:spPr/>
      <dgm:t>
        <a:bodyPr/>
        <a:lstStyle/>
        <a:p>
          <a:endParaRPr lang="en-US"/>
        </a:p>
      </dgm:t>
    </dgm:pt>
    <dgm:pt modelId="{7BDC560B-DB76-481B-BC67-1E2D2856B294}" type="sibTrans" cxnId="{1321CDEC-820E-4323-8880-6096546838CB}">
      <dgm:prSet/>
      <dgm:spPr/>
      <dgm:t>
        <a:bodyPr/>
        <a:lstStyle/>
        <a:p>
          <a:endParaRPr lang="en-US"/>
        </a:p>
      </dgm:t>
    </dgm:pt>
    <dgm:pt modelId="{02C75F46-8FA4-43FA-B336-159AB2CD50CA}">
      <dgm:prSet custT="1"/>
      <dgm:spPr/>
      <dgm:t>
        <a:bodyPr/>
        <a:lstStyle/>
        <a:p>
          <a:pPr>
            <a:buFont typeface="Arial" panose="020B0604020202020204" pitchFamily="34" charset="0"/>
            <a:buNone/>
          </a:pPr>
          <a:endParaRPr lang="en-US" sz="2000" dirty="0"/>
        </a:p>
      </dgm:t>
    </dgm:pt>
    <dgm:pt modelId="{CBE456CD-6329-40D4-96FE-6F71FF79A835}" type="parTrans" cxnId="{D1F99B12-BF3F-4901-BB61-6664877428AA}">
      <dgm:prSet/>
      <dgm:spPr/>
      <dgm:t>
        <a:bodyPr/>
        <a:lstStyle/>
        <a:p>
          <a:endParaRPr lang="en-US"/>
        </a:p>
      </dgm:t>
    </dgm:pt>
    <dgm:pt modelId="{AF7A010A-54CF-429A-A3B1-8E3B15DC96E1}" type="sibTrans" cxnId="{D1F99B12-BF3F-4901-BB61-6664877428AA}">
      <dgm:prSet/>
      <dgm:spPr/>
      <dgm:t>
        <a:bodyPr/>
        <a:lstStyle/>
        <a:p>
          <a:endParaRPr lang="en-US"/>
        </a:p>
      </dgm:t>
    </dgm:pt>
    <dgm:pt modelId="{2BBD394A-BB2A-4722-B1A9-E058C3F27CEF}">
      <dgm:prSet phldrT="[Text]" custT="1"/>
      <dgm:spPr/>
      <dgm:t>
        <a:bodyPr/>
        <a:lstStyle/>
        <a:p>
          <a:pPr>
            <a:buFont typeface="Arial" panose="020B0604020202020204" pitchFamily="34" charset="0"/>
            <a:buChar char="•"/>
          </a:pPr>
          <a:endParaRPr lang="en-US" sz="2000" dirty="0"/>
        </a:p>
      </dgm:t>
    </dgm:pt>
    <dgm:pt modelId="{3D0F1CAB-23F0-4FF8-B2B8-DFC3F5D54B27}" type="parTrans" cxnId="{DBD9F051-B981-4B90-A4D9-0699CD3AA207}">
      <dgm:prSet/>
      <dgm:spPr/>
      <dgm:t>
        <a:bodyPr/>
        <a:lstStyle/>
        <a:p>
          <a:endParaRPr lang="en-US"/>
        </a:p>
      </dgm:t>
    </dgm:pt>
    <dgm:pt modelId="{1C92C46D-5783-4F25-86D7-41995B2DE1D7}" type="sibTrans" cxnId="{DBD9F051-B981-4B90-A4D9-0699CD3AA207}">
      <dgm:prSet/>
      <dgm:spPr/>
      <dgm:t>
        <a:bodyPr/>
        <a:lstStyle/>
        <a:p>
          <a:endParaRPr lang="en-US"/>
        </a:p>
      </dgm:t>
    </dgm:pt>
    <dgm:pt modelId="{26F134C6-B261-4E02-9A94-61113180C336}">
      <dgm:prSet phldrT="[Text]" custT="1"/>
      <dgm:spPr/>
      <dgm:t>
        <a:bodyPr/>
        <a:lstStyle/>
        <a:p>
          <a:pPr>
            <a:buFont typeface="Arial" panose="020B0604020202020204" pitchFamily="34" charset="0"/>
            <a:buNone/>
          </a:pPr>
          <a:endParaRPr lang="en-US" sz="2000" dirty="0"/>
        </a:p>
      </dgm:t>
    </dgm:pt>
    <dgm:pt modelId="{375C1C3A-AAC1-4BBB-8F69-FD20EFDDC03C}" type="parTrans" cxnId="{BF0FBFF1-64D1-4776-952C-FC78A276B153}">
      <dgm:prSet/>
      <dgm:spPr/>
      <dgm:t>
        <a:bodyPr/>
        <a:lstStyle/>
        <a:p>
          <a:endParaRPr lang="en-US"/>
        </a:p>
      </dgm:t>
    </dgm:pt>
    <dgm:pt modelId="{869F4712-77C5-4A40-8D96-514132A38BF6}" type="sibTrans" cxnId="{BF0FBFF1-64D1-4776-952C-FC78A276B153}">
      <dgm:prSet/>
      <dgm:spPr/>
      <dgm:t>
        <a:bodyPr/>
        <a:lstStyle/>
        <a:p>
          <a:endParaRPr lang="en-US"/>
        </a:p>
      </dgm:t>
    </dgm:pt>
    <dgm:pt modelId="{12D8C1BA-54E3-4E98-BE04-E448ECD60CD5}">
      <dgm:prSet custT="1"/>
      <dgm:spPr/>
      <dgm:t>
        <a:bodyPr/>
        <a:lstStyle/>
        <a:p>
          <a:pPr>
            <a:buFont typeface="Arial" panose="020B0604020202020204" pitchFamily="34" charset="0"/>
            <a:buNone/>
          </a:pPr>
          <a:endParaRPr lang="en-US" sz="2000" dirty="0"/>
        </a:p>
      </dgm:t>
    </dgm:pt>
    <dgm:pt modelId="{B64C5762-B950-4769-A669-AF77C6197A60}" type="parTrans" cxnId="{9D1EA5FF-E15E-41F5-A35D-C4B7A90EB81F}">
      <dgm:prSet/>
      <dgm:spPr/>
      <dgm:t>
        <a:bodyPr/>
        <a:lstStyle/>
        <a:p>
          <a:endParaRPr lang="en-US"/>
        </a:p>
      </dgm:t>
    </dgm:pt>
    <dgm:pt modelId="{549EA785-4801-455A-91AF-E9E17266F308}" type="sibTrans" cxnId="{9D1EA5FF-E15E-41F5-A35D-C4B7A90EB81F}">
      <dgm:prSet/>
      <dgm:spPr/>
      <dgm:t>
        <a:bodyPr/>
        <a:lstStyle/>
        <a:p>
          <a:endParaRPr lang="en-US"/>
        </a:p>
      </dgm:t>
    </dgm:pt>
    <dgm:pt modelId="{5FDF63D2-DA17-4834-AC9E-4B8485998BF6}">
      <dgm:prSet phldrT="[Text]" custT="1"/>
      <dgm:spPr/>
      <dgm:t>
        <a:bodyPr/>
        <a:lstStyle/>
        <a:p>
          <a:pPr>
            <a:buFont typeface="Arial" panose="020B0604020202020204" pitchFamily="34" charset="0"/>
            <a:buChar char="•"/>
          </a:pPr>
          <a:r>
            <a:rPr lang="en-US" sz="2000" dirty="0"/>
            <a:t>By using designer workflow you can assign a task or work to a Group or a single person</a:t>
          </a:r>
        </a:p>
      </dgm:t>
    </dgm:pt>
    <dgm:pt modelId="{B089A80B-7882-4322-9D25-0E339B22D768}" type="parTrans" cxnId="{DA61B365-528A-4BB8-832F-1B316A09613D}">
      <dgm:prSet/>
      <dgm:spPr/>
      <dgm:t>
        <a:bodyPr/>
        <a:lstStyle/>
        <a:p>
          <a:endParaRPr lang="en-US"/>
        </a:p>
      </dgm:t>
    </dgm:pt>
    <dgm:pt modelId="{5AB37058-985A-4C04-A0FA-BC3660F3F7E5}" type="sibTrans" cxnId="{DA61B365-528A-4BB8-832F-1B316A09613D}">
      <dgm:prSet/>
      <dgm:spPr/>
      <dgm:t>
        <a:bodyPr/>
        <a:lstStyle/>
        <a:p>
          <a:endParaRPr lang="en-US"/>
        </a:p>
      </dgm:t>
    </dgm:pt>
    <dgm:pt modelId="{664155A3-E64F-4DB5-9303-F0D021297482}">
      <dgm:prSet phldrT="[Text]" custT="1"/>
      <dgm:spPr/>
      <dgm:t>
        <a:bodyPr/>
        <a:lstStyle/>
        <a:p>
          <a:pPr>
            <a:buFont typeface="Arial" panose="020B0604020202020204" pitchFamily="34" charset="0"/>
            <a:buChar char="•"/>
          </a:pPr>
          <a:r>
            <a:rPr lang="en-US" sz="2000" dirty="0"/>
            <a:t>After assigning the task to a group or a single person, We can track that current task status to know whether it is progressing or not</a:t>
          </a:r>
        </a:p>
      </dgm:t>
    </dgm:pt>
    <dgm:pt modelId="{AD5A6559-FAC4-44CA-ACCC-1D8B54B702B3}" type="parTrans" cxnId="{66E9C09B-C420-4E4D-94B4-76E2D6F4E35D}">
      <dgm:prSet/>
      <dgm:spPr/>
      <dgm:t>
        <a:bodyPr/>
        <a:lstStyle/>
        <a:p>
          <a:endParaRPr lang="en-US"/>
        </a:p>
      </dgm:t>
    </dgm:pt>
    <dgm:pt modelId="{6B96FB02-7A3D-4075-B0AE-CE6B7EA4A737}" type="sibTrans" cxnId="{66E9C09B-C420-4E4D-94B4-76E2D6F4E35D}">
      <dgm:prSet/>
      <dgm:spPr/>
      <dgm:t>
        <a:bodyPr/>
        <a:lstStyle/>
        <a:p>
          <a:endParaRPr lang="en-US"/>
        </a:p>
      </dgm:t>
    </dgm:pt>
    <dgm:pt modelId="{390837B7-A136-43F1-BA1D-364178CAABA5}">
      <dgm:prSet phldrT="[Text]" custT="1"/>
      <dgm:spPr/>
      <dgm:t>
        <a:bodyPr/>
        <a:lstStyle/>
        <a:p>
          <a:pPr>
            <a:buFont typeface="Arial" panose="020B0604020202020204" pitchFamily="34" charset="0"/>
            <a:buChar char="•"/>
          </a:pPr>
          <a:endParaRPr lang="en-US" sz="2000" dirty="0"/>
        </a:p>
      </dgm:t>
    </dgm:pt>
    <dgm:pt modelId="{58EC8A0B-A245-4E43-B667-9EC66424A253}" type="parTrans" cxnId="{9CC884D7-DBCE-4738-AFD0-437643E02123}">
      <dgm:prSet/>
      <dgm:spPr/>
      <dgm:t>
        <a:bodyPr/>
        <a:lstStyle/>
        <a:p>
          <a:endParaRPr lang="en-US"/>
        </a:p>
      </dgm:t>
    </dgm:pt>
    <dgm:pt modelId="{AB5705D6-9873-43C5-8CEE-A5A22F898A0D}" type="sibTrans" cxnId="{9CC884D7-DBCE-4738-AFD0-437643E02123}">
      <dgm:prSet/>
      <dgm:spPr/>
      <dgm:t>
        <a:bodyPr/>
        <a:lstStyle/>
        <a:p>
          <a:endParaRPr lang="en-US"/>
        </a:p>
      </dgm:t>
    </dgm:pt>
    <dgm:pt modelId="{BF3CB2D4-D77A-4AF1-A486-5FDE1ADED0E1}">
      <dgm:prSet custT="1"/>
      <dgm:spPr/>
      <dgm:t>
        <a:bodyPr/>
        <a:lstStyle/>
        <a:p>
          <a:pPr>
            <a:buFont typeface="Arial" panose="020B0604020202020204" pitchFamily="34" charset="0"/>
            <a:buChar char="•"/>
          </a:pPr>
          <a:r>
            <a:rPr lang="en-US" sz="2000" dirty="0"/>
            <a:t>Leverages more simplistic concepts of Create Item and Update Item actions to manage the creation and updating of SharePoint tasks</a:t>
          </a:r>
        </a:p>
      </dgm:t>
    </dgm:pt>
    <dgm:pt modelId="{D0B4F91B-C795-4242-A8A8-8540548F8E59}" type="parTrans" cxnId="{10A8B4D0-7045-4354-8688-833D5F8EF56E}">
      <dgm:prSet/>
      <dgm:spPr/>
      <dgm:t>
        <a:bodyPr/>
        <a:lstStyle/>
        <a:p>
          <a:endParaRPr lang="en-US"/>
        </a:p>
      </dgm:t>
    </dgm:pt>
    <dgm:pt modelId="{9C334FFA-057E-413B-A8BC-D278B39FA12D}" type="sibTrans" cxnId="{10A8B4D0-7045-4354-8688-833D5F8EF56E}">
      <dgm:prSet/>
      <dgm:spPr/>
      <dgm:t>
        <a:bodyPr/>
        <a:lstStyle/>
        <a:p>
          <a:endParaRPr lang="en-US"/>
        </a:p>
      </dgm:t>
    </dgm:pt>
    <dgm:pt modelId="{9D08B519-85A1-4399-809F-C91B619C6C04}">
      <dgm:prSet custT="1"/>
      <dgm:spPr/>
      <dgm:t>
        <a:bodyPr/>
        <a:lstStyle/>
        <a:p>
          <a:pPr>
            <a:buFont typeface="Arial" panose="020B0604020202020204" pitchFamily="34" charset="0"/>
            <a:buChar char="•"/>
          </a:pPr>
          <a:endParaRPr lang="en-US" sz="2000" dirty="0"/>
        </a:p>
      </dgm:t>
    </dgm:pt>
    <dgm:pt modelId="{4A45110B-FAC2-4C5A-B854-040C07B4D8BA}" type="parTrans" cxnId="{7D2E2AD6-F12B-46CF-BF94-0A62790D4858}">
      <dgm:prSet/>
      <dgm:spPr/>
      <dgm:t>
        <a:bodyPr/>
        <a:lstStyle/>
        <a:p>
          <a:endParaRPr lang="en-US"/>
        </a:p>
      </dgm:t>
    </dgm:pt>
    <dgm:pt modelId="{9C4979F6-5D13-46FE-8223-23E28A37BCAD}" type="sibTrans" cxnId="{7D2E2AD6-F12B-46CF-BF94-0A62790D4858}">
      <dgm:prSet/>
      <dgm:spPr/>
      <dgm:t>
        <a:bodyPr/>
        <a:lstStyle/>
        <a:p>
          <a:endParaRPr lang="en-US"/>
        </a:p>
      </dgm:t>
    </dgm:pt>
    <dgm:pt modelId="{0F700341-940C-45C5-8E93-AEF72448EFA7}">
      <dgm:prSet phldrT="[Text]" custT="1"/>
      <dgm:spPr/>
      <dgm:t>
        <a:bodyPr/>
        <a:lstStyle/>
        <a:p>
          <a:pPr>
            <a:buFont typeface="Arial" panose="020B0604020202020204" pitchFamily="34" charset="0"/>
            <a:buChar char="•"/>
          </a:pPr>
          <a:endParaRPr lang="en-US" sz="2000" dirty="0"/>
        </a:p>
      </dgm:t>
    </dgm:pt>
    <dgm:pt modelId="{3E2A364F-C973-4BDF-BCAA-C429D63A1800}" type="parTrans" cxnId="{6A3FC87B-14B6-4D8F-9567-1158D1D42671}">
      <dgm:prSet/>
      <dgm:spPr/>
      <dgm:t>
        <a:bodyPr/>
        <a:lstStyle/>
        <a:p>
          <a:endParaRPr lang="en-US"/>
        </a:p>
      </dgm:t>
    </dgm:pt>
    <dgm:pt modelId="{FEC5CA69-4A11-43E7-AFFD-76D6EB0D15B8}" type="sibTrans" cxnId="{6A3FC87B-14B6-4D8F-9567-1158D1D42671}">
      <dgm:prSet/>
      <dgm:spPr/>
      <dgm:t>
        <a:bodyPr/>
        <a:lstStyle/>
        <a:p>
          <a:endParaRPr lang="en-US"/>
        </a:p>
      </dgm:t>
    </dgm:pt>
    <dgm:pt modelId="{4A64B9A0-174C-49C9-A6D9-EBCDC50A93D2}">
      <dgm:prSet phldrT="[Text]" custT="1"/>
      <dgm:spPr/>
      <dgm:t>
        <a:bodyPr/>
        <a:lstStyle/>
        <a:p>
          <a:pPr>
            <a:buFont typeface="Arial" panose="020B0604020202020204" pitchFamily="34" charset="0"/>
            <a:buChar char="•"/>
          </a:pPr>
          <a:r>
            <a:rPr lang="en-US" sz="2000" dirty="0"/>
            <a:t>To create a SharePoint task You need to add a new item into specific SharePoint task lists</a:t>
          </a:r>
        </a:p>
      </dgm:t>
    </dgm:pt>
    <dgm:pt modelId="{DA9ECE54-EDD2-48FF-A556-2C2DCE8A6841}" type="parTrans" cxnId="{99016B13-048C-4668-ACB7-1740F71A6AB8}">
      <dgm:prSet/>
      <dgm:spPr/>
      <dgm:t>
        <a:bodyPr/>
        <a:lstStyle/>
        <a:p>
          <a:endParaRPr lang="en-US"/>
        </a:p>
      </dgm:t>
    </dgm:pt>
    <dgm:pt modelId="{EDCDBAA8-41A2-49C6-A991-061A896B8C82}" type="sibTrans" cxnId="{99016B13-048C-4668-ACB7-1740F71A6AB8}">
      <dgm:prSet/>
      <dgm:spPr/>
      <dgm:t>
        <a:bodyPr/>
        <a:lstStyle/>
        <a:p>
          <a:endParaRPr lang="en-US"/>
        </a:p>
      </dgm:t>
    </dgm:pt>
    <dgm:pt modelId="{0F81100B-4BE0-4F82-B9A7-91FFEAABDA62}">
      <dgm:prSet phldrT="[Text]" custT="1"/>
      <dgm:spPr/>
      <dgm:t>
        <a:bodyPr/>
        <a:lstStyle/>
        <a:p>
          <a:pPr>
            <a:buFont typeface="Arial" panose="020B0604020202020204" pitchFamily="34" charset="0"/>
            <a:buNone/>
          </a:pPr>
          <a:endParaRPr lang="en-US" sz="2000" dirty="0"/>
        </a:p>
      </dgm:t>
    </dgm:pt>
    <dgm:pt modelId="{622A1A0B-9754-4A53-95A3-44F7668D070A}" type="parTrans" cxnId="{FCE8E4B4-ED25-4FFF-8DDC-34C2793895C0}">
      <dgm:prSet/>
      <dgm:spPr/>
      <dgm:t>
        <a:bodyPr/>
        <a:lstStyle/>
        <a:p>
          <a:endParaRPr lang="en-US"/>
        </a:p>
      </dgm:t>
    </dgm:pt>
    <dgm:pt modelId="{F48A65DD-A83B-4CCF-A23A-41A02551351D}" type="sibTrans" cxnId="{FCE8E4B4-ED25-4FFF-8DDC-34C2793895C0}">
      <dgm:prSet/>
      <dgm:spPr/>
      <dgm:t>
        <a:bodyPr/>
        <a:lstStyle/>
        <a:p>
          <a:endParaRPr lang="en-US"/>
        </a:p>
      </dgm:t>
    </dgm:pt>
    <dgm:pt modelId="{F61A1A7F-BB20-42BA-9973-D796A031F7CB}" type="pres">
      <dgm:prSet presAssocID="{2CD11A65-5648-4C79-AC71-553B61658A78}" presName="Name0" presStyleCnt="0">
        <dgm:presLayoutVars>
          <dgm:dir/>
          <dgm:animLvl val="lvl"/>
          <dgm:resizeHandles val="exact"/>
        </dgm:presLayoutVars>
      </dgm:prSet>
      <dgm:spPr/>
    </dgm:pt>
    <dgm:pt modelId="{B34DC5B2-D857-4503-A7AB-9C520252E791}" type="pres">
      <dgm:prSet presAssocID="{B5664258-86E4-48FF-9B0B-6D88088651DD}" presName="linNode" presStyleCnt="0"/>
      <dgm:spPr/>
    </dgm:pt>
    <dgm:pt modelId="{756642F3-43F0-41F9-AB0B-D312E5F17207}" type="pres">
      <dgm:prSet presAssocID="{B5664258-86E4-48FF-9B0B-6D88088651DD}" presName="parentText" presStyleLbl="node1" presStyleIdx="0" presStyleCnt="2" custScaleX="133755" custScaleY="27396" custLinFactNeighborX="-5069" custLinFactNeighborY="-33344">
        <dgm:presLayoutVars>
          <dgm:chMax val="1"/>
          <dgm:bulletEnabled val="1"/>
        </dgm:presLayoutVars>
      </dgm:prSet>
      <dgm:spPr/>
    </dgm:pt>
    <dgm:pt modelId="{6D4ADB1B-DB5B-4FFE-9E72-7868102C2186}" type="pres">
      <dgm:prSet presAssocID="{B5664258-86E4-48FF-9B0B-6D88088651DD}" presName="descendantText" presStyleLbl="alignAccFollowNode1" presStyleIdx="0" presStyleCnt="2" custScaleX="75041" custScaleY="66432" custLinFactX="-21973" custLinFactNeighborX="-100000" custLinFactNeighborY="38860">
        <dgm:presLayoutVars>
          <dgm:bulletEnabled val="1"/>
        </dgm:presLayoutVars>
      </dgm:prSet>
      <dgm:spPr/>
    </dgm:pt>
    <dgm:pt modelId="{873B855C-7A26-4F57-A46D-7C8BDCA46CCF}" type="pres">
      <dgm:prSet presAssocID="{FEF83070-AEB1-4DBF-AEEE-E353A34E6D58}" presName="sp" presStyleCnt="0"/>
      <dgm:spPr/>
    </dgm:pt>
    <dgm:pt modelId="{ABEEE6DF-05BD-4574-B6B6-BC22FE2A33A8}" type="pres">
      <dgm:prSet presAssocID="{35AE0026-306D-4FF9-845A-78FE0BF90EB9}" presName="linNode" presStyleCnt="0"/>
      <dgm:spPr/>
    </dgm:pt>
    <dgm:pt modelId="{E0B69AA6-7F51-4559-BEBF-8064EF2455B9}" type="pres">
      <dgm:prSet presAssocID="{35AE0026-306D-4FF9-845A-78FE0BF90EB9}" presName="parentText" presStyleLbl="node1" presStyleIdx="1" presStyleCnt="2" custScaleX="132249" custScaleY="28645" custLinFactY="-100000" custLinFactNeighborX="81111" custLinFactNeighborY="-141657">
        <dgm:presLayoutVars>
          <dgm:chMax val="1"/>
          <dgm:bulletEnabled val="1"/>
        </dgm:presLayoutVars>
      </dgm:prSet>
      <dgm:spPr/>
    </dgm:pt>
    <dgm:pt modelId="{9063157D-3668-4773-B59F-F6E23C1DFB89}" type="pres">
      <dgm:prSet presAssocID="{35AE0026-306D-4FF9-845A-78FE0BF90EB9}" presName="descendantText" presStyleLbl="alignAccFollowNode1" presStyleIdx="1" presStyleCnt="2" custScaleX="74020" custScaleY="61312" custLinFactNeighborX="8469" custLinFactNeighborY="-30813">
        <dgm:presLayoutVars>
          <dgm:bulletEnabled val="1"/>
        </dgm:presLayoutVars>
      </dgm:prSet>
      <dgm:spPr/>
    </dgm:pt>
  </dgm:ptLst>
  <dgm:cxnLst>
    <dgm:cxn modelId="{6943230B-E6BC-4B3D-92BB-34513B12503C}" type="presOf" srcId="{02C75F46-8FA4-43FA-B336-159AB2CD50CA}" destId="{6D4ADB1B-DB5B-4FFE-9E72-7868102C2186}" srcOrd="0" destOrd="5" presId="urn:microsoft.com/office/officeart/2005/8/layout/vList5"/>
    <dgm:cxn modelId="{D1F99B12-BF3F-4901-BB61-6664877428AA}" srcId="{B5664258-86E4-48FF-9B0B-6D88088651DD}" destId="{02C75F46-8FA4-43FA-B336-159AB2CD50CA}" srcOrd="5" destOrd="0" parTransId="{CBE456CD-6329-40D4-96FE-6F71FF79A835}" sibTransId="{AF7A010A-54CF-429A-A3B1-8E3B15DC96E1}"/>
    <dgm:cxn modelId="{9EA74813-AFB1-45CF-805A-1998469EB16E}" type="presOf" srcId="{390837B7-A136-43F1-BA1D-364178CAABA5}" destId="{6D4ADB1B-DB5B-4FFE-9E72-7868102C2186}" srcOrd="0" destOrd="0" presId="urn:microsoft.com/office/officeart/2005/8/layout/vList5"/>
    <dgm:cxn modelId="{99016B13-048C-4668-ACB7-1740F71A6AB8}" srcId="{35AE0026-306D-4FF9-845A-78FE0BF90EB9}" destId="{4A64B9A0-174C-49C9-A6D9-EBCDC50A93D2}" srcOrd="2" destOrd="0" parTransId="{DA9ECE54-EDD2-48FF-A556-2C2DCE8A6841}" sibTransId="{EDCDBAA8-41A2-49C6-A991-061A896B8C82}"/>
    <dgm:cxn modelId="{6F093122-B5B6-4562-9185-6F0D0D31AFE2}" type="presOf" srcId="{0F81100B-4BE0-4F82-B9A7-91FFEAABDA62}" destId="{9063157D-3668-4773-B59F-F6E23C1DFB89}" srcOrd="0" destOrd="1" presId="urn:microsoft.com/office/officeart/2005/8/layout/vList5"/>
    <dgm:cxn modelId="{7398AA32-7CBC-4E31-B9CA-3797DD2E021C}" type="presOf" srcId="{4A64B9A0-174C-49C9-A6D9-EBCDC50A93D2}" destId="{9063157D-3668-4773-B59F-F6E23C1DFB89}" srcOrd="0" destOrd="2" presId="urn:microsoft.com/office/officeart/2005/8/layout/vList5"/>
    <dgm:cxn modelId="{DBD59435-E8E0-4F73-AF6C-201EE2A2F539}" type="presOf" srcId="{35AE0026-306D-4FF9-845A-78FE0BF90EB9}" destId="{E0B69AA6-7F51-4559-BEBF-8064EF2455B9}" srcOrd="0" destOrd="0" presId="urn:microsoft.com/office/officeart/2005/8/layout/vList5"/>
    <dgm:cxn modelId="{A58BA241-10BB-4CB2-B37D-209A632A2DD5}" type="presOf" srcId="{9D08B519-85A1-4399-809F-C91B619C6C04}" destId="{9063157D-3668-4773-B59F-F6E23C1DFB89}" srcOrd="0" destOrd="4" presId="urn:microsoft.com/office/officeart/2005/8/layout/vList5"/>
    <dgm:cxn modelId="{DA61B365-528A-4BB8-832F-1B316A09613D}" srcId="{B5664258-86E4-48FF-9B0B-6D88088651DD}" destId="{5FDF63D2-DA17-4834-AC9E-4B8485998BF6}" srcOrd="2" destOrd="0" parTransId="{B089A80B-7882-4322-9D25-0E339B22D768}" sibTransId="{5AB37058-985A-4C04-A0FA-BC3660F3F7E5}"/>
    <dgm:cxn modelId="{DBD9F051-B981-4B90-A4D9-0699CD3AA207}" srcId="{B5664258-86E4-48FF-9B0B-6D88088651DD}" destId="{2BBD394A-BB2A-4722-B1A9-E058C3F27CEF}" srcOrd="1" destOrd="0" parTransId="{3D0F1CAB-23F0-4FF8-B2B8-DFC3F5D54B27}" sibTransId="{1C92C46D-5783-4F25-86D7-41995B2DE1D7}"/>
    <dgm:cxn modelId="{6A3FC87B-14B6-4D8F-9567-1158D1D42671}" srcId="{35AE0026-306D-4FF9-845A-78FE0BF90EB9}" destId="{0F700341-940C-45C5-8E93-AEF72448EFA7}" srcOrd="0" destOrd="0" parTransId="{3E2A364F-C973-4BDF-BCAA-C429D63A1800}" sibTransId="{FEC5CA69-4A11-43E7-AFFD-76D6EB0D15B8}"/>
    <dgm:cxn modelId="{25C0C77D-DC8B-4F65-B2C8-8A5852A1599A}" type="presOf" srcId="{2CD11A65-5648-4C79-AC71-553B61658A78}" destId="{F61A1A7F-BB20-42BA-9973-D796A031F7CB}" srcOrd="0" destOrd="0" presId="urn:microsoft.com/office/officeart/2005/8/layout/vList5"/>
    <dgm:cxn modelId="{C0869F80-B217-4DE8-AE3D-487FC1249EC8}" type="presOf" srcId="{12D8C1BA-54E3-4E98-BE04-E448ECD60CD5}" destId="{6D4ADB1B-DB5B-4FFE-9E72-7868102C2186}" srcOrd="0" destOrd="4" presId="urn:microsoft.com/office/officeart/2005/8/layout/vList5"/>
    <dgm:cxn modelId="{C012E494-29C2-426B-BBAF-35541066E1C5}" type="presOf" srcId="{664155A3-E64F-4DB5-9303-F0D021297482}" destId="{6D4ADB1B-DB5B-4FFE-9E72-7868102C2186}" srcOrd="0" destOrd="3" presId="urn:microsoft.com/office/officeart/2005/8/layout/vList5"/>
    <dgm:cxn modelId="{66E9C09B-C420-4E4D-94B4-76E2D6F4E35D}" srcId="{B5664258-86E4-48FF-9B0B-6D88088651DD}" destId="{664155A3-E64F-4DB5-9303-F0D021297482}" srcOrd="3" destOrd="0" parTransId="{AD5A6559-FAC4-44CA-ACCC-1D8B54B702B3}" sibTransId="{6B96FB02-7A3D-4075-B0AE-CE6B7EA4A737}"/>
    <dgm:cxn modelId="{D16CF2A7-1381-492E-A861-0A630C8006A0}" type="presOf" srcId="{B5664258-86E4-48FF-9B0B-6D88088651DD}" destId="{756642F3-43F0-41F9-AB0B-D312E5F17207}" srcOrd="0" destOrd="0" presId="urn:microsoft.com/office/officeart/2005/8/layout/vList5"/>
    <dgm:cxn modelId="{FCE8E4B4-ED25-4FFF-8DDC-34C2793895C0}" srcId="{35AE0026-306D-4FF9-845A-78FE0BF90EB9}" destId="{0F81100B-4BE0-4F82-B9A7-91FFEAABDA62}" srcOrd="1" destOrd="0" parTransId="{622A1A0B-9754-4A53-95A3-44F7668D070A}" sibTransId="{F48A65DD-A83B-4CCF-A23A-41A02551351D}"/>
    <dgm:cxn modelId="{D08105B7-F359-4A60-801A-D5C765A30B8C}" type="presOf" srcId="{BF3CB2D4-D77A-4AF1-A486-5FDE1ADED0E1}" destId="{9063157D-3668-4773-B59F-F6E23C1DFB89}" srcOrd="0" destOrd="3" presId="urn:microsoft.com/office/officeart/2005/8/layout/vList5"/>
    <dgm:cxn modelId="{2BBD71BE-C1F1-4B04-8B4E-7D13F4BCA934}" srcId="{2CD11A65-5648-4C79-AC71-553B61658A78}" destId="{B5664258-86E4-48FF-9B0B-6D88088651DD}" srcOrd="0" destOrd="0" parTransId="{ED502C53-14FF-4480-B0EB-013BCB16F962}" sibTransId="{FEF83070-AEB1-4DBF-AEEE-E353A34E6D58}"/>
    <dgm:cxn modelId="{8560B0BF-93F4-46F4-BBF9-A34602B8BF7D}" type="presOf" srcId="{0F700341-940C-45C5-8E93-AEF72448EFA7}" destId="{9063157D-3668-4773-B59F-F6E23C1DFB89}" srcOrd="0" destOrd="0" presId="urn:microsoft.com/office/officeart/2005/8/layout/vList5"/>
    <dgm:cxn modelId="{9C99C7CC-6E99-4323-86A5-B975405A3CE7}" type="presOf" srcId="{5FDF63D2-DA17-4834-AC9E-4B8485998BF6}" destId="{6D4ADB1B-DB5B-4FFE-9E72-7868102C2186}" srcOrd="0" destOrd="2" presId="urn:microsoft.com/office/officeart/2005/8/layout/vList5"/>
    <dgm:cxn modelId="{10A8B4D0-7045-4354-8688-833D5F8EF56E}" srcId="{35AE0026-306D-4FF9-845A-78FE0BF90EB9}" destId="{BF3CB2D4-D77A-4AF1-A486-5FDE1ADED0E1}" srcOrd="3" destOrd="0" parTransId="{D0B4F91B-C795-4242-A8A8-8540548F8E59}" sibTransId="{9C334FFA-057E-413B-A8BC-D278B39FA12D}"/>
    <dgm:cxn modelId="{7D2E2AD6-F12B-46CF-BF94-0A62790D4858}" srcId="{35AE0026-306D-4FF9-845A-78FE0BF90EB9}" destId="{9D08B519-85A1-4399-809F-C91B619C6C04}" srcOrd="4" destOrd="0" parTransId="{4A45110B-FAC2-4C5A-B854-040C07B4D8BA}" sibTransId="{9C4979F6-5D13-46FE-8223-23E28A37BCAD}"/>
    <dgm:cxn modelId="{9CC884D7-DBCE-4738-AFD0-437643E02123}" srcId="{B5664258-86E4-48FF-9B0B-6D88088651DD}" destId="{390837B7-A136-43F1-BA1D-364178CAABA5}" srcOrd="0" destOrd="0" parTransId="{58EC8A0B-A245-4E43-B667-9EC66424A253}" sibTransId="{AB5705D6-9873-43C5-8CEE-A5A22F898A0D}"/>
    <dgm:cxn modelId="{F641C1DB-16BF-4459-AFB0-F28C95ECF266}" type="presOf" srcId="{26F134C6-B261-4E02-9A94-61113180C336}" destId="{9063157D-3668-4773-B59F-F6E23C1DFB89}" srcOrd="0" destOrd="5" presId="urn:microsoft.com/office/officeart/2005/8/layout/vList5"/>
    <dgm:cxn modelId="{1321CDEC-820E-4323-8880-6096546838CB}" srcId="{2CD11A65-5648-4C79-AC71-553B61658A78}" destId="{35AE0026-306D-4FF9-845A-78FE0BF90EB9}" srcOrd="1" destOrd="0" parTransId="{F64E4BF9-2C57-4156-90D9-1C60E003D81E}" sibTransId="{7BDC560B-DB76-481B-BC67-1E2D2856B294}"/>
    <dgm:cxn modelId="{9CDC47F1-2006-423A-9B2F-40CCEA1007DC}" type="presOf" srcId="{2BBD394A-BB2A-4722-B1A9-E058C3F27CEF}" destId="{6D4ADB1B-DB5B-4FFE-9E72-7868102C2186}" srcOrd="0" destOrd="1" presId="urn:microsoft.com/office/officeart/2005/8/layout/vList5"/>
    <dgm:cxn modelId="{BF0FBFF1-64D1-4776-952C-FC78A276B153}" srcId="{35AE0026-306D-4FF9-845A-78FE0BF90EB9}" destId="{26F134C6-B261-4E02-9A94-61113180C336}" srcOrd="5" destOrd="0" parTransId="{375C1C3A-AAC1-4BBB-8F69-FD20EFDDC03C}" sibTransId="{869F4712-77C5-4A40-8D96-514132A38BF6}"/>
    <dgm:cxn modelId="{9D1EA5FF-E15E-41F5-A35D-C4B7A90EB81F}" srcId="{B5664258-86E4-48FF-9B0B-6D88088651DD}" destId="{12D8C1BA-54E3-4E98-BE04-E448ECD60CD5}" srcOrd="4" destOrd="0" parTransId="{B64C5762-B950-4769-A669-AF77C6197A60}" sibTransId="{549EA785-4801-455A-91AF-E9E17266F308}"/>
    <dgm:cxn modelId="{5776A269-75CE-48F6-A3EB-9332125F834C}" type="presParOf" srcId="{F61A1A7F-BB20-42BA-9973-D796A031F7CB}" destId="{B34DC5B2-D857-4503-A7AB-9C520252E791}" srcOrd="0" destOrd="0" presId="urn:microsoft.com/office/officeart/2005/8/layout/vList5"/>
    <dgm:cxn modelId="{DF7F15F1-9DA4-4B37-8E34-6BC7917A7E2C}" type="presParOf" srcId="{B34DC5B2-D857-4503-A7AB-9C520252E791}" destId="{756642F3-43F0-41F9-AB0B-D312E5F17207}" srcOrd="0" destOrd="0" presId="urn:microsoft.com/office/officeart/2005/8/layout/vList5"/>
    <dgm:cxn modelId="{D0375D95-1027-4CC6-9D85-6E61B2DA843E}" type="presParOf" srcId="{B34DC5B2-D857-4503-A7AB-9C520252E791}" destId="{6D4ADB1B-DB5B-4FFE-9E72-7868102C2186}" srcOrd="1" destOrd="0" presId="urn:microsoft.com/office/officeart/2005/8/layout/vList5"/>
    <dgm:cxn modelId="{A5F0904D-4ED6-4485-9566-EDEA5B7571B2}" type="presParOf" srcId="{F61A1A7F-BB20-42BA-9973-D796A031F7CB}" destId="{873B855C-7A26-4F57-A46D-7C8BDCA46CCF}" srcOrd="1" destOrd="0" presId="urn:microsoft.com/office/officeart/2005/8/layout/vList5"/>
    <dgm:cxn modelId="{3F82F1C8-1901-4594-B04F-85A8A8006762}" type="presParOf" srcId="{F61A1A7F-BB20-42BA-9973-D796A031F7CB}" destId="{ABEEE6DF-05BD-4574-B6B6-BC22FE2A33A8}" srcOrd="2" destOrd="0" presId="urn:microsoft.com/office/officeart/2005/8/layout/vList5"/>
    <dgm:cxn modelId="{0F01129B-16DB-432D-9F0D-F91DA4040621}" type="presParOf" srcId="{ABEEE6DF-05BD-4574-B6B6-BC22FE2A33A8}" destId="{E0B69AA6-7F51-4559-BEBF-8064EF2455B9}" srcOrd="0" destOrd="0" presId="urn:microsoft.com/office/officeart/2005/8/layout/vList5"/>
    <dgm:cxn modelId="{03126990-5B43-4D16-A6F6-341DB2F65BED}" type="presParOf" srcId="{ABEEE6DF-05BD-4574-B6B6-BC22FE2A33A8}" destId="{9063157D-3668-4773-B59F-F6E23C1DFB8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ADB1B-DB5B-4FFE-9E72-7868102C2186}">
      <dsp:nvSpPr>
        <dsp:cNvPr id="0" name=""/>
        <dsp:cNvSpPr/>
      </dsp:nvSpPr>
      <dsp:spPr>
        <a:xfrm rot="5400000">
          <a:off x="1575479" y="17067"/>
          <a:ext cx="2275222" cy="535452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SharePoint 2010 workflows, released with SharePoint Server 2010, are hosted, and executed in SharePoint workflow runtime.</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Workflow engine lives in SharePoint</a:t>
          </a:r>
        </a:p>
        <a:p>
          <a:pPr marL="228600" lvl="1" indent="-228600" algn="l" defTabSz="889000">
            <a:lnSpc>
              <a:spcPct val="90000"/>
            </a:lnSpc>
            <a:spcBef>
              <a:spcPct val="0"/>
            </a:spcBef>
            <a:spcAft>
              <a:spcPct val="15000"/>
            </a:spcAft>
            <a:buFont typeface="Arial" panose="020B0604020202020204" pitchFamily="34" charset="0"/>
            <a:buChar char="•"/>
          </a:pPr>
          <a:r>
            <a:rPr lang="en-US" sz="2000" b="1" kern="1200" dirty="0"/>
            <a:t>As of Nov 2020 SharePoint 2010 Workflow will be retired</a:t>
          </a:r>
        </a:p>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None/>
          </a:pPr>
          <a:endParaRPr lang="en-US" sz="2000" kern="1200" dirty="0"/>
        </a:p>
      </dsp:txBody>
      <dsp:txXfrm rot="-5400000">
        <a:off x="35827" y="1667787"/>
        <a:ext cx="5243460" cy="2053088"/>
      </dsp:txXfrm>
    </dsp:sp>
    <dsp:sp modelId="{756642F3-43F0-41F9-AB0B-D312E5F17207}">
      <dsp:nvSpPr>
        <dsp:cNvPr id="0" name=""/>
        <dsp:cNvSpPr/>
      </dsp:nvSpPr>
      <dsp:spPr>
        <a:xfrm>
          <a:off x="0" y="0"/>
          <a:ext cx="5368526" cy="138722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SharePoint 2010 Workflow</a:t>
          </a:r>
        </a:p>
      </dsp:txBody>
      <dsp:txXfrm>
        <a:off x="67719" y="67719"/>
        <a:ext cx="5233088" cy="1251788"/>
      </dsp:txXfrm>
    </dsp:sp>
    <dsp:sp modelId="{9063157D-3668-4773-B59F-F6E23C1DFB89}">
      <dsp:nvSpPr>
        <dsp:cNvPr id="0" name=""/>
        <dsp:cNvSpPr/>
      </dsp:nvSpPr>
      <dsp:spPr>
        <a:xfrm rot="5400000">
          <a:off x="7425369" y="28783"/>
          <a:ext cx="2165929" cy="528167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SharePoint 2013 workflows, released with SharePoint Server 2013, are hosted in SharePoint, and executed in Workflow Manager, that runs independently.</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Workflow engine lives outside of SharePoint</a:t>
          </a:r>
        </a:p>
        <a:p>
          <a:pPr marL="228600" lvl="1" indent="-228600" algn="l" defTabSz="889000">
            <a:lnSpc>
              <a:spcPct val="90000"/>
            </a:lnSpc>
            <a:spcBef>
              <a:spcPct val="0"/>
            </a:spcBef>
            <a:spcAft>
              <a:spcPct val="15000"/>
            </a:spcAft>
            <a:buFont typeface="Arial" panose="020B0604020202020204" pitchFamily="34" charset="0"/>
            <a:buNone/>
          </a:pPr>
          <a:endParaRPr lang="en-US" sz="2000" kern="1200" dirty="0"/>
        </a:p>
      </dsp:txBody>
      <dsp:txXfrm rot="-5400000">
        <a:off x="5867497" y="1692387"/>
        <a:ext cx="5175942" cy="1954465"/>
      </dsp:txXfrm>
    </dsp:sp>
    <dsp:sp modelId="{E0B69AA6-7F51-4559-BEBF-8064EF2455B9}">
      <dsp:nvSpPr>
        <dsp:cNvPr id="0" name=""/>
        <dsp:cNvSpPr/>
      </dsp:nvSpPr>
      <dsp:spPr>
        <a:xfrm>
          <a:off x="5841090" y="0"/>
          <a:ext cx="5308080" cy="14504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SharePoint 2013 Workflow</a:t>
          </a:r>
        </a:p>
      </dsp:txBody>
      <dsp:txXfrm>
        <a:off x="5911896" y="70806"/>
        <a:ext cx="5166468" cy="13088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ADB1B-DB5B-4FFE-9E72-7868102C2186}">
      <dsp:nvSpPr>
        <dsp:cNvPr id="0" name=""/>
        <dsp:cNvSpPr/>
      </dsp:nvSpPr>
      <dsp:spPr>
        <a:xfrm rot="5400000">
          <a:off x="1582280" y="-212051"/>
          <a:ext cx="1953268" cy="505024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SharePoint Designer is the most used application to author and publish classic workflows in SharePoint</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Specific to SharePoint only</a:t>
          </a:r>
        </a:p>
        <a:p>
          <a:pPr marL="228600" lvl="1" indent="-228600" algn="l" defTabSz="889000">
            <a:lnSpc>
              <a:spcPct val="90000"/>
            </a:lnSpc>
            <a:spcBef>
              <a:spcPct val="0"/>
            </a:spcBef>
            <a:spcAft>
              <a:spcPct val="15000"/>
            </a:spcAft>
            <a:buFont typeface="Arial" panose="020B0604020202020204" pitchFamily="34" charset="0"/>
            <a:buChar char="•"/>
          </a:pPr>
          <a:r>
            <a:rPr lang="en-US" sz="2000" b="1" kern="1200" dirty="0"/>
            <a:t>Target Users: </a:t>
          </a:r>
          <a:r>
            <a:rPr lang="en-US" sz="2000" kern="1200" dirty="0"/>
            <a:t>Information workers, business analysts, SharePoint developers</a:t>
          </a:r>
        </a:p>
        <a:p>
          <a:pPr marL="228600" lvl="1" indent="-228600" algn="l" defTabSz="889000">
            <a:lnSpc>
              <a:spcPct val="90000"/>
            </a:lnSpc>
            <a:spcBef>
              <a:spcPct val="0"/>
            </a:spcBef>
            <a:spcAft>
              <a:spcPct val="15000"/>
            </a:spcAft>
            <a:buFont typeface="Arial" panose="020B0604020202020204" pitchFamily="34" charset="0"/>
            <a:buNone/>
          </a:pPr>
          <a:endParaRPr lang="en-US" sz="2000" kern="1200" dirty="0"/>
        </a:p>
      </dsp:txBody>
      <dsp:txXfrm rot="-5400000">
        <a:off x="33791" y="1431789"/>
        <a:ext cx="4954896" cy="1762566"/>
      </dsp:txXfrm>
    </dsp:sp>
    <dsp:sp modelId="{756642F3-43F0-41F9-AB0B-D312E5F17207}">
      <dsp:nvSpPr>
        <dsp:cNvPr id="0" name=""/>
        <dsp:cNvSpPr/>
      </dsp:nvSpPr>
      <dsp:spPr>
        <a:xfrm>
          <a:off x="0" y="0"/>
          <a:ext cx="5063450" cy="119092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SharePoint Designer</a:t>
          </a:r>
        </a:p>
      </dsp:txBody>
      <dsp:txXfrm>
        <a:off x="58136" y="58136"/>
        <a:ext cx="4947178" cy="1074656"/>
      </dsp:txXfrm>
    </dsp:sp>
    <dsp:sp modelId="{9063157D-3668-4773-B59F-F6E23C1DFB89}">
      <dsp:nvSpPr>
        <dsp:cNvPr id="0" name=""/>
        <dsp:cNvSpPr/>
      </dsp:nvSpPr>
      <dsp:spPr>
        <a:xfrm rot="5400000">
          <a:off x="7095112" y="-198909"/>
          <a:ext cx="1859441" cy="498153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Professional Developers, looking to extend and build more complex workflows, use Visual Studio to create and publish workflows in SharePoint.</a:t>
          </a:r>
        </a:p>
        <a:p>
          <a:pPr marL="228600" lvl="1" indent="-228600" algn="l" defTabSz="889000">
            <a:lnSpc>
              <a:spcPct val="90000"/>
            </a:lnSpc>
            <a:spcBef>
              <a:spcPct val="0"/>
            </a:spcBef>
            <a:spcAft>
              <a:spcPct val="15000"/>
            </a:spcAft>
            <a:buFont typeface="Arial" panose="020B0604020202020204" pitchFamily="34" charset="0"/>
            <a:buChar char="•"/>
          </a:pPr>
          <a:r>
            <a:rPr lang="en-US" sz="2000" b="1" kern="1200" dirty="0"/>
            <a:t>Target users: </a:t>
          </a:r>
          <a:r>
            <a:rPr lang="en-US" sz="2000" kern="1200" dirty="0"/>
            <a:t>Intermediate or advanced software developers</a:t>
          </a:r>
        </a:p>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dsp:txBody>
      <dsp:txXfrm rot="-5400000">
        <a:off x="5534066" y="1452907"/>
        <a:ext cx="4890764" cy="1677901"/>
      </dsp:txXfrm>
    </dsp:sp>
    <dsp:sp modelId="{E0B69AA6-7F51-4559-BEBF-8064EF2455B9}">
      <dsp:nvSpPr>
        <dsp:cNvPr id="0" name=""/>
        <dsp:cNvSpPr/>
      </dsp:nvSpPr>
      <dsp:spPr>
        <a:xfrm>
          <a:off x="5509160" y="0"/>
          <a:ext cx="5006439" cy="12452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Visual Studio</a:t>
          </a:r>
        </a:p>
      </dsp:txBody>
      <dsp:txXfrm>
        <a:off x="5569947" y="60787"/>
        <a:ext cx="4884865" cy="11236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68FB3B-1A57-4A71-BC51-C9F73A1C406D}">
      <dsp:nvSpPr>
        <dsp:cNvPr id="0" name=""/>
        <dsp:cNvSpPr/>
      </dsp:nvSpPr>
      <dsp:spPr>
        <a:xfrm>
          <a:off x="3571" y="42000"/>
          <a:ext cx="3123406" cy="3123406"/>
        </a:xfrm>
        <a:prstGeom prst="octagon">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r>
            <a:rPr lang="en-US" sz="4000" kern="1200" dirty="0"/>
            <a:t>Classic Workflow</a:t>
          </a:r>
        </a:p>
      </dsp:txBody>
      <dsp:txXfrm>
        <a:off x="460978" y="499407"/>
        <a:ext cx="2208592" cy="2208592"/>
      </dsp:txXfrm>
    </dsp:sp>
    <dsp:sp modelId="{2C5A39CF-914D-455C-9314-3C2BC9D67DDE}">
      <dsp:nvSpPr>
        <dsp:cNvPr id="0" name=""/>
        <dsp:cNvSpPr/>
      </dsp:nvSpPr>
      <dsp:spPr>
        <a:xfrm>
          <a:off x="3595489" y="1022750"/>
          <a:ext cx="993243" cy="116190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466850">
            <a:lnSpc>
              <a:spcPct val="90000"/>
            </a:lnSpc>
            <a:spcBef>
              <a:spcPct val="0"/>
            </a:spcBef>
            <a:spcAft>
              <a:spcPct val="35000"/>
            </a:spcAft>
            <a:buNone/>
          </a:pPr>
          <a:endParaRPr lang="en-US" sz="3300" kern="1200" dirty="0"/>
        </a:p>
      </dsp:txBody>
      <dsp:txXfrm>
        <a:off x="3595489" y="1255131"/>
        <a:ext cx="695270" cy="697145"/>
      </dsp:txXfrm>
    </dsp:sp>
    <dsp:sp modelId="{BF3C3608-0845-4065-92A0-4FB0A2C8136C}">
      <dsp:nvSpPr>
        <dsp:cNvPr id="0" name=""/>
        <dsp:cNvSpPr/>
      </dsp:nvSpPr>
      <dsp:spPr>
        <a:xfrm>
          <a:off x="5001021" y="42000"/>
          <a:ext cx="3123406" cy="3123406"/>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r>
            <a:rPr lang="en-US" sz="4000" kern="1200" dirty="0"/>
            <a:t>Power Automate</a:t>
          </a:r>
        </a:p>
      </dsp:txBody>
      <dsp:txXfrm>
        <a:off x="5458433" y="499412"/>
        <a:ext cx="2208582" cy="22085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ADB1B-DB5B-4FFE-9E72-7868102C2186}">
      <dsp:nvSpPr>
        <dsp:cNvPr id="0" name=""/>
        <dsp:cNvSpPr/>
      </dsp:nvSpPr>
      <dsp:spPr>
        <a:xfrm rot="5400000">
          <a:off x="5274989" y="-1636824"/>
          <a:ext cx="3380713" cy="75084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Power Automate is one of the pillars of Power Platform and is the recommended workflow tool for SharePoint</a:t>
          </a:r>
        </a:p>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Powerful workflow automation with a no-code/low-code approach </a:t>
          </a:r>
        </a:p>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Tightly integrated with SharePoint Online but it is not limited to just SharePoint as it can connect to hundreds of popular apps and services</a:t>
          </a:r>
        </a:p>
        <a:p>
          <a:pPr marL="228600" lvl="1" indent="-228600" algn="l" defTabSz="889000">
            <a:lnSpc>
              <a:spcPct val="90000"/>
            </a:lnSpc>
            <a:spcBef>
              <a:spcPct val="0"/>
            </a:spcBef>
            <a:spcAft>
              <a:spcPct val="15000"/>
            </a:spcAft>
            <a:buFont typeface="Arial" panose="020B0604020202020204" pitchFamily="34" charset="0"/>
            <a:buNone/>
          </a:pPr>
          <a:endParaRPr lang="en-US" sz="2000" kern="1200" dirty="0"/>
        </a:p>
      </dsp:txBody>
      <dsp:txXfrm rot="-5400000">
        <a:off x="3211104" y="592094"/>
        <a:ext cx="7343451" cy="3050647"/>
      </dsp:txXfrm>
    </dsp:sp>
    <dsp:sp modelId="{756642F3-43F0-41F9-AB0B-D312E5F17207}">
      <dsp:nvSpPr>
        <dsp:cNvPr id="0" name=""/>
        <dsp:cNvSpPr/>
      </dsp:nvSpPr>
      <dsp:spPr>
        <a:xfrm>
          <a:off x="2408" y="230216"/>
          <a:ext cx="3207377" cy="383508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Power Automate</a:t>
          </a:r>
        </a:p>
      </dsp:txBody>
      <dsp:txXfrm>
        <a:off x="158979" y="386787"/>
        <a:ext cx="2894235" cy="352194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B4E045-52F6-46C5-A70C-D244454D9BC1}">
      <dsp:nvSpPr>
        <dsp:cNvPr id="0" name=""/>
        <dsp:cNvSpPr/>
      </dsp:nvSpPr>
      <dsp:spPr>
        <a:xfrm>
          <a:off x="1730062" y="1593304"/>
          <a:ext cx="1379981" cy="1379981"/>
        </a:xfrm>
        <a:prstGeom prst="ellipse">
          <a:avLst/>
        </a:prstGeom>
        <a:solidFill>
          <a:schemeClr val="accent1">
            <a:hueOff val="0"/>
            <a:satOff val="0"/>
            <a:lum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SharePoint Workflows</a:t>
          </a:r>
        </a:p>
      </dsp:txBody>
      <dsp:txXfrm>
        <a:off x="1932156" y="1795398"/>
        <a:ext cx="975793" cy="975793"/>
      </dsp:txXfrm>
    </dsp:sp>
    <dsp:sp modelId="{05C61300-8039-41CA-BADC-49128DB00155}">
      <dsp:nvSpPr>
        <dsp:cNvPr id="0" name=""/>
        <dsp:cNvSpPr/>
      </dsp:nvSpPr>
      <dsp:spPr>
        <a:xfrm rot="5530734">
          <a:off x="1968187" y="3231639"/>
          <a:ext cx="816602" cy="39329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79E945-FD38-4059-B470-8191467B9C5C}">
      <dsp:nvSpPr>
        <dsp:cNvPr id="0" name=""/>
        <dsp:cNvSpPr/>
      </dsp:nvSpPr>
      <dsp:spPr>
        <a:xfrm>
          <a:off x="1705474" y="3311899"/>
          <a:ext cx="1310982" cy="1048786"/>
        </a:xfrm>
        <a:prstGeom prst="roundRect">
          <a:avLst>
            <a:gd name="adj" fmla="val 10000"/>
          </a:avLst>
        </a:prstGeom>
        <a:solidFill>
          <a:schemeClr val="accent1">
            <a:hueOff val="0"/>
            <a:satOff val="0"/>
            <a:lum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SharePoint Site</a:t>
          </a:r>
        </a:p>
      </dsp:txBody>
      <dsp:txXfrm>
        <a:off x="1736192" y="3342617"/>
        <a:ext cx="1249546" cy="987350"/>
      </dsp:txXfrm>
    </dsp:sp>
    <dsp:sp modelId="{9FA3F35A-8B49-46BD-B311-2011B16C6400}">
      <dsp:nvSpPr>
        <dsp:cNvPr id="0" name=""/>
        <dsp:cNvSpPr/>
      </dsp:nvSpPr>
      <dsp:spPr>
        <a:xfrm rot="12707195">
          <a:off x="675937" y="1373896"/>
          <a:ext cx="1187928" cy="39329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29AB18-8E6A-4133-9B32-B4367B971736}">
      <dsp:nvSpPr>
        <dsp:cNvPr id="0" name=""/>
        <dsp:cNvSpPr/>
      </dsp:nvSpPr>
      <dsp:spPr>
        <a:xfrm>
          <a:off x="109530" y="733276"/>
          <a:ext cx="1310982" cy="1048786"/>
        </a:xfrm>
        <a:prstGeom prst="roundRect">
          <a:avLst>
            <a:gd name="adj" fmla="val 10000"/>
          </a:avLst>
        </a:prstGeom>
        <a:solidFill>
          <a:schemeClr val="accent1">
            <a:hueOff val="0"/>
            <a:satOff val="0"/>
            <a:lum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Triggers</a:t>
          </a:r>
        </a:p>
      </dsp:txBody>
      <dsp:txXfrm>
        <a:off x="140248" y="763994"/>
        <a:ext cx="1249546" cy="987350"/>
      </dsp:txXfrm>
    </dsp:sp>
    <dsp:sp modelId="{A9D7B79E-F7CE-480F-A29B-2CD91DCF8858}">
      <dsp:nvSpPr>
        <dsp:cNvPr id="0" name=""/>
        <dsp:cNvSpPr/>
      </dsp:nvSpPr>
      <dsp:spPr>
        <a:xfrm rot="16214344">
          <a:off x="1975583" y="894909"/>
          <a:ext cx="898883" cy="39329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27E0808-0511-4F45-A005-E97DCC339720}">
      <dsp:nvSpPr>
        <dsp:cNvPr id="0" name=""/>
        <dsp:cNvSpPr/>
      </dsp:nvSpPr>
      <dsp:spPr>
        <a:xfrm>
          <a:off x="1771409" y="117725"/>
          <a:ext cx="1310982" cy="1048786"/>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Conditions</a:t>
          </a:r>
        </a:p>
        <a:p>
          <a:pPr marL="0" lvl="0" indent="0" algn="ctr" defTabSz="711200">
            <a:lnSpc>
              <a:spcPct val="90000"/>
            </a:lnSpc>
            <a:spcBef>
              <a:spcPct val="0"/>
            </a:spcBef>
            <a:spcAft>
              <a:spcPct val="35000"/>
            </a:spcAft>
            <a:buNone/>
          </a:pPr>
          <a:r>
            <a:rPr lang="en-US" sz="1600" kern="1200" dirty="0"/>
            <a:t>/Loops</a:t>
          </a:r>
        </a:p>
      </dsp:txBody>
      <dsp:txXfrm>
        <a:off x="1802127" y="148443"/>
        <a:ext cx="1249546" cy="987350"/>
      </dsp:txXfrm>
    </dsp:sp>
    <dsp:sp modelId="{660C2F9B-4CD1-48F0-830B-B24113BA874E}">
      <dsp:nvSpPr>
        <dsp:cNvPr id="0" name=""/>
        <dsp:cNvSpPr/>
      </dsp:nvSpPr>
      <dsp:spPr>
        <a:xfrm rot="19843385">
          <a:off x="3006380" y="1425645"/>
          <a:ext cx="1185355" cy="39329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A41BB08-E588-4B72-8C24-59C29735657F}">
      <dsp:nvSpPr>
        <dsp:cNvPr id="0" name=""/>
        <dsp:cNvSpPr/>
      </dsp:nvSpPr>
      <dsp:spPr>
        <a:xfrm>
          <a:off x="3460540" y="808062"/>
          <a:ext cx="1310982" cy="1048786"/>
        </a:xfrm>
        <a:prstGeom prst="roundRect">
          <a:avLst>
            <a:gd name="adj" fmla="val 10000"/>
          </a:avLst>
        </a:prstGeom>
        <a:solidFill>
          <a:schemeClr val="accent1">
            <a:hueOff val="0"/>
            <a:satOff val="0"/>
            <a:lum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Actions</a:t>
          </a:r>
        </a:p>
      </dsp:txBody>
      <dsp:txXfrm>
        <a:off x="3491258" y="838780"/>
        <a:ext cx="1249546" cy="98735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B4E045-52F6-46C5-A70C-D244454D9BC1}">
      <dsp:nvSpPr>
        <dsp:cNvPr id="0" name=""/>
        <dsp:cNvSpPr/>
      </dsp:nvSpPr>
      <dsp:spPr>
        <a:xfrm>
          <a:off x="1730062" y="1593304"/>
          <a:ext cx="1379981" cy="1379981"/>
        </a:xfrm>
        <a:prstGeom prst="ellipse">
          <a:avLst/>
        </a:prstGeom>
        <a:solidFill>
          <a:schemeClr val="accent1">
            <a:lumMod val="75000"/>
            <a:alpha val="98000"/>
          </a:schemeClr>
        </a:solidFill>
        <a:ln w="12700" cap="flat" cmpd="sng" algn="ctr">
          <a:solidFill>
            <a:schemeClr val="lt1">
              <a:hueOff val="0"/>
              <a:satOff val="0"/>
              <a:lumOff val="0"/>
              <a:alphaOff val="0"/>
            </a:schemeClr>
          </a:solidFill>
          <a:prstDash val="solid"/>
          <a:miter lim="800000"/>
        </a:ln>
        <a:effectLst>
          <a:outerShdw blurRad="254000" dist="38100" dir="16200000" sx="101000" sy="101000" rotWithShape="0">
            <a:schemeClr val="accent1">
              <a:lumMod val="75000"/>
              <a:alpha val="90000"/>
            </a:scheme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Power Automate</a:t>
          </a:r>
        </a:p>
      </dsp:txBody>
      <dsp:txXfrm>
        <a:off x="1932156" y="1795398"/>
        <a:ext cx="975793" cy="975793"/>
      </dsp:txXfrm>
    </dsp:sp>
    <dsp:sp modelId="{05C61300-8039-41CA-BADC-49128DB00155}">
      <dsp:nvSpPr>
        <dsp:cNvPr id="0" name=""/>
        <dsp:cNvSpPr/>
      </dsp:nvSpPr>
      <dsp:spPr>
        <a:xfrm rot="5480806">
          <a:off x="1985160" y="3231782"/>
          <a:ext cx="815941" cy="39329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79E945-FD38-4059-B470-8191467B9C5C}">
      <dsp:nvSpPr>
        <dsp:cNvPr id="0" name=""/>
        <dsp:cNvSpPr/>
      </dsp:nvSpPr>
      <dsp:spPr>
        <a:xfrm>
          <a:off x="1728051" y="3311894"/>
          <a:ext cx="1310982" cy="1048786"/>
        </a:xfrm>
        <a:prstGeom prst="roundRect">
          <a:avLst>
            <a:gd name="adj" fmla="val 10000"/>
          </a:avLst>
        </a:prstGeom>
        <a:solidFill>
          <a:schemeClr val="accent1">
            <a:lumMod val="75000"/>
            <a:alpha val="98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300+ Data sources</a:t>
          </a:r>
        </a:p>
      </dsp:txBody>
      <dsp:txXfrm>
        <a:off x="1758769" y="3342612"/>
        <a:ext cx="1249546" cy="987350"/>
      </dsp:txXfrm>
    </dsp:sp>
    <dsp:sp modelId="{9FA3F35A-8B49-46BD-B311-2011B16C6400}">
      <dsp:nvSpPr>
        <dsp:cNvPr id="0" name=""/>
        <dsp:cNvSpPr/>
      </dsp:nvSpPr>
      <dsp:spPr>
        <a:xfrm rot="12707195">
          <a:off x="675937" y="1373896"/>
          <a:ext cx="1187928" cy="39329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29AB18-8E6A-4133-9B32-B4367B971736}">
      <dsp:nvSpPr>
        <dsp:cNvPr id="0" name=""/>
        <dsp:cNvSpPr/>
      </dsp:nvSpPr>
      <dsp:spPr>
        <a:xfrm>
          <a:off x="109530" y="733276"/>
          <a:ext cx="1310982" cy="1048786"/>
        </a:xfrm>
        <a:prstGeom prst="roundRect">
          <a:avLst>
            <a:gd name="adj" fmla="val 10000"/>
          </a:avLst>
        </a:prstGeom>
        <a:solidFill>
          <a:schemeClr val="accent1">
            <a:lumMod val="75000"/>
            <a:alpha val="98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Triggers</a:t>
          </a:r>
        </a:p>
      </dsp:txBody>
      <dsp:txXfrm>
        <a:off x="140248" y="763994"/>
        <a:ext cx="1249546" cy="987350"/>
      </dsp:txXfrm>
    </dsp:sp>
    <dsp:sp modelId="{A9D7B79E-F7CE-480F-A29B-2CD91DCF8858}">
      <dsp:nvSpPr>
        <dsp:cNvPr id="0" name=""/>
        <dsp:cNvSpPr/>
      </dsp:nvSpPr>
      <dsp:spPr>
        <a:xfrm rot="16214344">
          <a:off x="1975583" y="894909"/>
          <a:ext cx="898883" cy="39329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27E0808-0511-4F45-A005-E97DCC339720}">
      <dsp:nvSpPr>
        <dsp:cNvPr id="0" name=""/>
        <dsp:cNvSpPr/>
      </dsp:nvSpPr>
      <dsp:spPr>
        <a:xfrm>
          <a:off x="1771409" y="117725"/>
          <a:ext cx="1310982" cy="1048786"/>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Conditions</a:t>
          </a:r>
        </a:p>
        <a:p>
          <a:pPr marL="0" lvl="0" indent="0" algn="ctr" defTabSz="711200">
            <a:lnSpc>
              <a:spcPct val="90000"/>
            </a:lnSpc>
            <a:spcBef>
              <a:spcPct val="0"/>
            </a:spcBef>
            <a:spcAft>
              <a:spcPct val="35000"/>
            </a:spcAft>
            <a:buNone/>
          </a:pPr>
          <a:r>
            <a:rPr lang="en-US" sz="1600" kern="1200" dirty="0"/>
            <a:t>/Loops</a:t>
          </a:r>
        </a:p>
      </dsp:txBody>
      <dsp:txXfrm>
        <a:off x="1802127" y="148443"/>
        <a:ext cx="1249546" cy="987350"/>
      </dsp:txXfrm>
    </dsp:sp>
    <dsp:sp modelId="{660C2F9B-4CD1-48F0-830B-B24113BA874E}">
      <dsp:nvSpPr>
        <dsp:cNvPr id="0" name=""/>
        <dsp:cNvSpPr/>
      </dsp:nvSpPr>
      <dsp:spPr>
        <a:xfrm rot="19843385">
          <a:off x="3006380" y="1425645"/>
          <a:ext cx="1185355" cy="39329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A41BB08-E588-4B72-8C24-59C29735657F}">
      <dsp:nvSpPr>
        <dsp:cNvPr id="0" name=""/>
        <dsp:cNvSpPr/>
      </dsp:nvSpPr>
      <dsp:spPr>
        <a:xfrm>
          <a:off x="3460540" y="808062"/>
          <a:ext cx="1310982" cy="1048786"/>
        </a:xfrm>
        <a:prstGeom prst="roundRect">
          <a:avLst>
            <a:gd name="adj" fmla="val 10000"/>
          </a:avLst>
        </a:prstGeom>
        <a:solidFill>
          <a:schemeClr val="accent1">
            <a:lumMod val="75000"/>
            <a:alpha val="98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Actions</a:t>
          </a:r>
        </a:p>
      </dsp:txBody>
      <dsp:txXfrm>
        <a:off x="3491258" y="838780"/>
        <a:ext cx="1249546" cy="9873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6642F3-43F0-41F9-AB0B-D312E5F17207}">
      <dsp:nvSpPr>
        <dsp:cNvPr id="0" name=""/>
        <dsp:cNvSpPr/>
      </dsp:nvSpPr>
      <dsp:spPr>
        <a:xfrm>
          <a:off x="0" y="50791"/>
          <a:ext cx="5228328" cy="106088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SharePoint Designer is a separate software Installation (last released version is 2013)</a:t>
          </a:r>
        </a:p>
      </dsp:txBody>
      <dsp:txXfrm>
        <a:off x="51788" y="102579"/>
        <a:ext cx="5124752" cy="957305"/>
      </dsp:txXfrm>
    </dsp:sp>
    <dsp:sp modelId="{E0B69AA6-7F51-4559-BEBF-8064EF2455B9}">
      <dsp:nvSpPr>
        <dsp:cNvPr id="0" name=""/>
        <dsp:cNvSpPr/>
      </dsp:nvSpPr>
      <dsp:spPr>
        <a:xfrm>
          <a:off x="5819880" y="68988"/>
          <a:ext cx="5486453" cy="11308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Power Automate does not require installation, only a browser and internet connection are necessary</a:t>
          </a:r>
        </a:p>
      </dsp:txBody>
      <dsp:txXfrm>
        <a:off x="5875083" y="124191"/>
        <a:ext cx="5376047" cy="102042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6642F3-43F0-41F9-AB0B-D312E5F17207}">
      <dsp:nvSpPr>
        <dsp:cNvPr id="0" name=""/>
        <dsp:cNvSpPr/>
      </dsp:nvSpPr>
      <dsp:spPr>
        <a:xfrm>
          <a:off x="953880" y="191387"/>
          <a:ext cx="4045406" cy="179573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endParaRPr lang="en-US" sz="2400" kern="1200" dirty="0"/>
        </a:p>
        <a:p>
          <a:pPr marL="0" lvl="0" indent="0" algn="ctr" defTabSz="1066800">
            <a:lnSpc>
              <a:spcPct val="90000"/>
            </a:lnSpc>
            <a:spcBef>
              <a:spcPct val="0"/>
            </a:spcBef>
            <a:spcAft>
              <a:spcPct val="35000"/>
            </a:spcAft>
            <a:buNone/>
          </a:pPr>
          <a:r>
            <a:rPr lang="en-US" sz="2400" kern="1200" dirty="0"/>
            <a:t>The SharePoint Designer user interface is focused at the top ribbon</a:t>
          </a:r>
        </a:p>
        <a:p>
          <a:pPr marL="0" lvl="0" indent="0" algn="ctr" defTabSz="1066800">
            <a:lnSpc>
              <a:spcPct val="90000"/>
            </a:lnSpc>
            <a:spcBef>
              <a:spcPct val="0"/>
            </a:spcBef>
            <a:spcAft>
              <a:spcPct val="35000"/>
            </a:spcAft>
            <a:buNone/>
          </a:pPr>
          <a:endParaRPr lang="en-US" sz="2400" kern="1200" dirty="0"/>
        </a:p>
      </dsp:txBody>
      <dsp:txXfrm>
        <a:off x="1041540" y="279047"/>
        <a:ext cx="3870086" cy="1620412"/>
      </dsp:txXfrm>
    </dsp:sp>
    <dsp:sp modelId="{E0B69AA6-7F51-4559-BEBF-8064EF2455B9}">
      <dsp:nvSpPr>
        <dsp:cNvPr id="0" name=""/>
        <dsp:cNvSpPr/>
      </dsp:nvSpPr>
      <dsp:spPr>
        <a:xfrm>
          <a:off x="790760" y="2466901"/>
          <a:ext cx="4216818" cy="236010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Power Automate groups functional aspects together via the left Navigation menu</a:t>
          </a:r>
        </a:p>
      </dsp:txBody>
      <dsp:txXfrm>
        <a:off x="905971" y="2582112"/>
        <a:ext cx="3986396" cy="212968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ADB1B-DB5B-4FFE-9E72-7868102C2186}">
      <dsp:nvSpPr>
        <dsp:cNvPr id="0" name=""/>
        <dsp:cNvSpPr/>
      </dsp:nvSpPr>
      <dsp:spPr>
        <a:xfrm rot="5400000">
          <a:off x="1446770" y="-184564"/>
          <a:ext cx="2156718" cy="505024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By using designer workflow you can assign a task or work to a Group or a single person</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After assigning the task to a group or a single person, We can track that current task status to know whether it is progressing or not</a:t>
          </a:r>
        </a:p>
        <a:p>
          <a:pPr marL="228600" lvl="1" indent="-228600" algn="l" defTabSz="889000">
            <a:lnSpc>
              <a:spcPct val="90000"/>
            </a:lnSpc>
            <a:spcBef>
              <a:spcPct val="0"/>
            </a:spcBef>
            <a:spcAft>
              <a:spcPct val="15000"/>
            </a:spcAft>
            <a:buFont typeface="Arial" panose="020B0604020202020204" pitchFamily="34" charset="0"/>
            <a:buNone/>
          </a:pPr>
          <a:endParaRPr lang="en-US" sz="2000" kern="1200" dirty="0"/>
        </a:p>
        <a:p>
          <a:pPr marL="228600" lvl="1" indent="-228600" algn="l" defTabSz="889000">
            <a:lnSpc>
              <a:spcPct val="90000"/>
            </a:lnSpc>
            <a:spcBef>
              <a:spcPct val="0"/>
            </a:spcBef>
            <a:spcAft>
              <a:spcPct val="15000"/>
            </a:spcAft>
            <a:buFont typeface="Arial" panose="020B0604020202020204" pitchFamily="34" charset="0"/>
            <a:buNone/>
          </a:pPr>
          <a:endParaRPr lang="en-US" sz="2000" kern="1200" dirty="0"/>
        </a:p>
      </dsp:txBody>
      <dsp:txXfrm rot="-5400000">
        <a:off x="6" y="1367482"/>
        <a:ext cx="4944965" cy="1946154"/>
      </dsp:txXfrm>
    </dsp:sp>
    <dsp:sp modelId="{756642F3-43F0-41F9-AB0B-D312E5F17207}">
      <dsp:nvSpPr>
        <dsp:cNvPr id="0" name=""/>
        <dsp:cNvSpPr/>
      </dsp:nvSpPr>
      <dsp:spPr>
        <a:xfrm>
          <a:off x="0" y="0"/>
          <a:ext cx="5063450" cy="11117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SharePoint Designer</a:t>
          </a:r>
        </a:p>
      </dsp:txBody>
      <dsp:txXfrm>
        <a:off x="54272" y="54272"/>
        <a:ext cx="4954906" cy="1003222"/>
      </dsp:txXfrm>
    </dsp:sp>
    <dsp:sp modelId="{9063157D-3668-4773-B59F-F6E23C1DFB89}">
      <dsp:nvSpPr>
        <dsp:cNvPr id="0" name=""/>
        <dsp:cNvSpPr/>
      </dsp:nvSpPr>
      <dsp:spPr>
        <a:xfrm rot="5400000">
          <a:off x="7023512" y="-135631"/>
          <a:ext cx="1990497" cy="498153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None/>
          </a:pPr>
          <a:endParaRPr lang="en-US" sz="2000" kern="1200" dirty="0"/>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To create a SharePoint task You need to add a new item into specific SharePoint task lists</a:t>
          </a:r>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t>Leverages more simplistic concepts of Create Item and Update Item actions to manage the creation and updating of SharePoint tasks</a:t>
          </a:r>
        </a:p>
        <a:p>
          <a:pPr marL="228600" lvl="1" indent="-228600" algn="l" defTabSz="889000">
            <a:lnSpc>
              <a:spcPct val="90000"/>
            </a:lnSpc>
            <a:spcBef>
              <a:spcPct val="0"/>
            </a:spcBef>
            <a:spcAft>
              <a:spcPct val="15000"/>
            </a:spcAft>
            <a:buFont typeface="Arial" panose="020B0604020202020204" pitchFamily="34" charset="0"/>
            <a:buChar char="•"/>
          </a:pPr>
          <a:endParaRPr lang="en-US" sz="2000" kern="1200" dirty="0"/>
        </a:p>
        <a:p>
          <a:pPr marL="228600" lvl="1" indent="-228600" algn="l" defTabSz="889000">
            <a:lnSpc>
              <a:spcPct val="90000"/>
            </a:lnSpc>
            <a:spcBef>
              <a:spcPct val="0"/>
            </a:spcBef>
            <a:spcAft>
              <a:spcPct val="15000"/>
            </a:spcAft>
            <a:buFont typeface="Arial" panose="020B0604020202020204" pitchFamily="34" charset="0"/>
            <a:buNone/>
          </a:pPr>
          <a:endParaRPr lang="en-US" sz="2000" kern="1200" dirty="0"/>
        </a:p>
      </dsp:txBody>
      <dsp:txXfrm rot="-5400000">
        <a:off x="5527994" y="1457055"/>
        <a:ext cx="4884366" cy="1796161"/>
      </dsp:txXfrm>
    </dsp:sp>
    <dsp:sp modelId="{E0B69AA6-7F51-4559-BEBF-8064EF2455B9}">
      <dsp:nvSpPr>
        <dsp:cNvPr id="0" name=""/>
        <dsp:cNvSpPr/>
      </dsp:nvSpPr>
      <dsp:spPr>
        <a:xfrm>
          <a:off x="5509160" y="0"/>
          <a:ext cx="5006439" cy="11624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Power Automate </a:t>
          </a:r>
        </a:p>
      </dsp:txBody>
      <dsp:txXfrm>
        <a:off x="5565906" y="56746"/>
        <a:ext cx="4892947" cy="104896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D68C62-91D1-4EA1-895D-A05D3EACFE2B}" type="datetimeFigureOut">
              <a:rPr lang="en-US" smtClean="0"/>
              <a:t>8/26/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CE0AF-8EE2-4CEE-89C8-5D4DAFA806D3}" type="slidenum">
              <a:rPr lang="en-US" smtClean="0"/>
              <a:t>‹#›</a:t>
            </a:fld>
            <a:endParaRPr lang="en-US" dirty="0"/>
          </a:p>
        </p:txBody>
      </p:sp>
    </p:spTree>
    <p:extLst>
      <p:ext uri="{BB962C8B-B14F-4D97-AF65-F5344CB8AC3E}">
        <p14:creationId xmlns:p14="http://schemas.microsoft.com/office/powerpoint/2010/main" val="2556865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flow.microsoft.com/"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sharepoint/dev/business-apps/power-automate/guidance/working-with-send-sp-http-request"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a:p>
        </p:txBody>
      </p:sp>
      <p:sp>
        <p:nvSpPr>
          <p:cNvPr id="4" name="Slide Number Placeholder 3"/>
          <p:cNvSpPr>
            <a:spLocks noGrp="1"/>
          </p:cNvSpPr>
          <p:nvPr>
            <p:ph type="sldNum" sz="quarter" idx="5"/>
          </p:nvPr>
        </p:nvSpPr>
        <p:spPr/>
        <p:txBody>
          <a:bodyPr/>
          <a:lstStyle/>
          <a:p>
            <a:fld id="{71AE491A-DAEE-409B-A4E0-BAAB50D44CF3}" type="slidenum">
              <a:rPr lang="en-US" smtClean="0"/>
              <a:t>1</a:t>
            </a:fld>
            <a:endParaRPr lang="en-US" dirty="0"/>
          </a:p>
        </p:txBody>
      </p:sp>
    </p:spTree>
    <p:extLst>
      <p:ext uri="{BB962C8B-B14F-4D97-AF65-F5344CB8AC3E}">
        <p14:creationId xmlns:p14="http://schemas.microsoft.com/office/powerpoint/2010/main" val="2521221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11</a:t>
            </a:fld>
            <a:endParaRPr lang="en-US" dirty="0"/>
          </a:p>
        </p:txBody>
      </p:sp>
    </p:spTree>
    <p:extLst>
      <p:ext uri="{BB962C8B-B14F-4D97-AF65-F5344CB8AC3E}">
        <p14:creationId xmlns:p14="http://schemas.microsoft.com/office/powerpoint/2010/main" val="1648166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compared to the set of predefined templates offered in SharePoint Designer, Power Automate Flow not only offers more out-of-the-box options, it also allows users to create their own custom templates that can be shared with the community.</a:t>
            </a:r>
          </a:p>
          <a:p>
            <a:endParaRPr lang="en-US" dirty="0"/>
          </a:p>
          <a:p>
            <a:r>
              <a:rPr lang="en-US" b="0" i="0" dirty="0">
                <a:solidFill>
                  <a:srgbClr val="171717"/>
                </a:solidFill>
                <a:effectLst/>
                <a:latin typeface="Segoe UI" panose="020B0502040204020203" pitchFamily="34" charset="0"/>
              </a:rPr>
              <a:t>Each template is designed for a specific purpose. For example, there are templates for sending you a text message when your boss emails you, adding Twitter leads to Dynamics 365, or backing up your files. These templates are just the tip of the iceberg. They're intended to inspire you to create customized flows for the exact processes you need.</a:t>
            </a:r>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12</a:t>
            </a:fld>
            <a:endParaRPr lang="en-US" dirty="0"/>
          </a:p>
        </p:txBody>
      </p:sp>
    </p:spTree>
    <p:extLst>
      <p:ext uri="{BB962C8B-B14F-4D97-AF65-F5344CB8AC3E}">
        <p14:creationId xmlns:p14="http://schemas.microsoft.com/office/powerpoint/2010/main" val="1376356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Request sign-off - </a:t>
            </a:r>
            <a:r>
              <a:rPr lang="en-US" b="0" i="0" dirty="0">
                <a:solidFill>
                  <a:srgbClr val="333333"/>
                </a:solidFill>
                <a:effectLst/>
                <a:latin typeface="SegoeUI"/>
              </a:rPr>
              <a:t>The goal is to provide you an easy way to send an item for approval to someone else. This feature enables an open approval process that allows you to easily record whether or not a document or list item was approved or not. There is no setup required.</a:t>
            </a:r>
          </a:p>
          <a:p>
            <a:endParaRPr lang="en-US" b="0" i="0" dirty="0">
              <a:solidFill>
                <a:srgbClr val="333333"/>
              </a:solidFill>
              <a:effectLst/>
              <a:latin typeface="SegoeUI"/>
            </a:endParaRPr>
          </a:p>
          <a:p>
            <a:pPr marL="171450" indent="-171450">
              <a:buFont typeface="Arial" panose="020B0604020202020204" pitchFamily="34" charset="0"/>
              <a:buChar char="•"/>
            </a:pPr>
            <a:r>
              <a:rPr lang="en-US" b="0" i="0" dirty="0">
                <a:solidFill>
                  <a:srgbClr val="333333"/>
                </a:solidFill>
                <a:effectLst/>
                <a:latin typeface="SegoeUI"/>
              </a:rPr>
              <a:t>Set a reminder - </a:t>
            </a:r>
            <a:r>
              <a:rPr lang="en-US" b="0" i="0" dirty="0">
                <a:solidFill>
                  <a:srgbClr val="171717"/>
                </a:solidFill>
                <a:effectLst/>
                <a:latin typeface="Segoe UI" panose="020B0502040204020203" pitchFamily="34" charset="0"/>
              </a:rPr>
              <a:t>With Power Automate's integration with SharePoint, you can easily create reminder flows, based on DateTime columns in SharePoint. With reminder flows, you receive a personal email alert a predetermined number of days in advance of a date on any document or item in SharePoint.</a:t>
            </a:r>
          </a:p>
          <a:p>
            <a:pPr marL="171450" indent="-171450">
              <a:buFont typeface="Arial" panose="020B0604020202020204" pitchFamily="34" charset="0"/>
              <a:buChar char="•"/>
            </a:pPr>
            <a:endParaRPr lang="en-US" b="0" i="0" dirty="0">
              <a:solidFill>
                <a:srgbClr val="171717"/>
              </a:solidFill>
              <a:effectLst/>
              <a:latin typeface="Segoe UI" panose="020B0502040204020203" pitchFamily="34" charset="0"/>
            </a:endParaRPr>
          </a:p>
          <a:p>
            <a:pPr marL="171450" indent="-171450">
              <a:buFont typeface="Arial" panose="020B0604020202020204" pitchFamily="34" charset="0"/>
              <a:buChar char="•"/>
            </a:pPr>
            <a:r>
              <a:rPr lang="en-US" b="0" i="0" dirty="0">
                <a:solidFill>
                  <a:srgbClr val="171717"/>
                </a:solidFill>
                <a:effectLst/>
                <a:latin typeface="Segoe UI" panose="020B0502040204020203" pitchFamily="34" charset="0"/>
              </a:rPr>
              <a:t>Page Approvals - SharePoint site admins can use Power Automate to require new or updated site pages to be approved before being published.</a:t>
            </a:r>
          </a:p>
          <a:p>
            <a:pPr marL="171450" indent="-171450">
              <a:buFont typeface="Arial" panose="020B0604020202020204" pitchFamily="34" charset="0"/>
              <a:buChar char="•"/>
            </a:pPr>
            <a:endParaRPr lang="en-US" b="0" i="0" dirty="0">
              <a:solidFill>
                <a:srgbClr val="171717"/>
              </a:solidFill>
              <a:effectLst/>
              <a:latin typeface="Segoe UI" panose="020B0502040204020203" pitchFamily="34" charset="0"/>
            </a:endParaRPr>
          </a:p>
          <a:p>
            <a:pPr marL="0" indent="0">
              <a:buFont typeface="Arial" panose="020B0604020202020204" pitchFamily="34" charset="0"/>
              <a:buNone/>
            </a:pPr>
            <a:endParaRPr lang="en-US" b="0" i="0" dirty="0">
              <a:solidFill>
                <a:srgbClr val="333333"/>
              </a:solidFill>
              <a:effectLst/>
              <a:latin typeface="SegoeUI"/>
            </a:endParaRP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13</a:t>
            </a:fld>
            <a:endParaRPr lang="en-US" dirty="0"/>
          </a:p>
        </p:txBody>
      </p:sp>
    </p:spTree>
    <p:extLst>
      <p:ext uri="{BB962C8B-B14F-4D97-AF65-F5344CB8AC3E}">
        <p14:creationId xmlns:p14="http://schemas.microsoft.com/office/powerpoint/2010/main" val="25432396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F3F3F"/>
                </a:solidFill>
                <a:effectLst/>
                <a:latin typeface="Open Sans"/>
              </a:rPr>
              <a:t>Power Automate can be used with hundreds of applications and platforms.  </a:t>
            </a:r>
            <a:r>
              <a:rPr lang="en-US" b="1" i="0" dirty="0">
                <a:solidFill>
                  <a:srgbClr val="3F3F3F"/>
                </a:solidFill>
                <a:effectLst/>
                <a:latin typeface="Open Sans"/>
              </a:rPr>
              <a:t>SharePoint Designer only works with SharePoint.</a:t>
            </a:r>
            <a:r>
              <a:rPr lang="en-US" b="0" i="0" dirty="0">
                <a:solidFill>
                  <a:srgbClr val="3F3F3F"/>
                </a:solidFill>
                <a:effectLst/>
                <a:latin typeface="Open Sans"/>
              </a:rPr>
              <a:t>   </a:t>
            </a:r>
          </a:p>
          <a:p>
            <a:endParaRPr lang="en-US" dirty="0"/>
          </a:p>
        </p:txBody>
      </p:sp>
    </p:spTree>
    <p:extLst>
      <p:ext uri="{BB962C8B-B14F-4D97-AF65-F5344CB8AC3E}">
        <p14:creationId xmlns:p14="http://schemas.microsoft.com/office/powerpoint/2010/main" val="17123158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Segoe UI Light"/>
              </a:rPr>
              <a:t>The scope of this training is to not get deep into licensing, if more info on Power Automate licensing is desired please refer to the following Power Platform licensing guide https://go.microsoft.com/fwlink/?linkid=2085130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CBA210A-8932-455C-9B57-3E9A77382E3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8823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18</a:t>
            </a:fld>
            <a:endParaRPr lang="en-US" dirty="0"/>
          </a:p>
        </p:txBody>
      </p:sp>
    </p:spTree>
    <p:extLst>
      <p:ext uri="{BB962C8B-B14F-4D97-AF65-F5344CB8AC3E}">
        <p14:creationId xmlns:p14="http://schemas.microsoft.com/office/powerpoint/2010/main" val="8882190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766707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20</a:t>
            </a:fld>
            <a:endParaRPr lang="en-US" dirty="0"/>
          </a:p>
        </p:txBody>
      </p:sp>
    </p:spTree>
    <p:extLst>
      <p:ext uri="{BB962C8B-B14F-4D97-AF65-F5344CB8AC3E}">
        <p14:creationId xmlns:p14="http://schemas.microsoft.com/office/powerpoint/2010/main" val="954522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3F3F3F"/>
                </a:solidFill>
                <a:effectLst/>
                <a:uLnTx/>
                <a:uFillTx/>
                <a:latin typeface="Open Sans"/>
                <a:ea typeface="+mn-ea"/>
                <a:cs typeface="+mn-cs"/>
              </a:rPr>
              <a:t>SharePoint Designer is part of the SharePoint family, has been around since 2010. It lets you modify SharePoint sites, workflows, and webpages. </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1" i="0" u="none" strike="noStrike" kern="1200" cap="none" spc="0" normalizeH="0" baseline="0" noProof="0" dirty="0">
                <a:ln>
                  <a:noFill/>
                </a:ln>
                <a:solidFill>
                  <a:srgbClr val="3F3F3F"/>
                </a:solidFill>
                <a:effectLst/>
                <a:uLnTx/>
                <a:uFillTx/>
                <a:latin typeface="Open Sans"/>
                <a:ea typeface="+mn-ea"/>
                <a:cs typeface="+mn-cs"/>
              </a:rPr>
              <a:t>Power Automate </a:t>
            </a:r>
            <a:r>
              <a:rPr kumimoji="0" lang="en-US" sz="2600" b="0" i="0" u="none" strike="noStrike" kern="1200" cap="none" spc="0" normalizeH="0" baseline="0" noProof="0" dirty="0">
                <a:ln>
                  <a:noFill/>
                </a:ln>
                <a:solidFill>
                  <a:srgbClr val="3F3F3F"/>
                </a:solidFill>
                <a:effectLst/>
                <a:uLnTx/>
                <a:uFillTx/>
                <a:latin typeface="Open Sans"/>
                <a:ea typeface="+mn-ea"/>
                <a:cs typeface="+mn-cs"/>
              </a:rPr>
              <a:t>is a cloud-based software that lets you automate tasks and workflows across many applications and services</a:t>
            </a:r>
            <a:endParaRPr kumimoji="0" lang="en-US" sz="2600" b="0" i="1" u="none" strike="noStrike" kern="1200" cap="none" spc="0" normalizeH="0" baseline="0" noProof="0" dirty="0">
              <a:ln>
                <a:noFill/>
              </a:ln>
              <a:solidFill>
                <a:srgbClr val="3F3F3F"/>
              </a:solidFill>
              <a:effectLst/>
              <a:uLnTx/>
              <a:uFillTx/>
              <a:latin typeface="Open Sans"/>
              <a:ea typeface="+mn-ea"/>
              <a:cs typeface="+mn-cs"/>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1" u="none" strike="noStrike" kern="1200" cap="none" spc="0" normalizeH="0" baseline="0" noProof="0" dirty="0">
                <a:ln>
                  <a:noFill/>
                </a:ln>
                <a:solidFill>
                  <a:srgbClr val="3F3F3F"/>
                </a:solidFill>
                <a:effectLst/>
                <a:uLnTx/>
                <a:uFillTx/>
                <a:latin typeface="Open Sans"/>
                <a:ea typeface="+mn-ea"/>
                <a:cs typeface="+mn-cs"/>
              </a:rPr>
              <a:t>Power Automate can be used with hundreds of applications and platforms.</a:t>
            </a:r>
            <a:r>
              <a:rPr kumimoji="0" lang="en-US" sz="2600" b="0" i="0" u="none" strike="noStrike" kern="1200" cap="none" spc="0" normalizeH="0" baseline="0" noProof="0" dirty="0">
                <a:ln>
                  <a:noFill/>
                </a:ln>
                <a:solidFill>
                  <a:srgbClr val="3F3F3F"/>
                </a:solidFill>
                <a:effectLst/>
                <a:uLnTx/>
                <a:uFillTx/>
                <a:latin typeface="Open Sans"/>
                <a:ea typeface="+mn-ea"/>
                <a:cs typeface="+mn-cs"/>
              </a:rPr>
              <a:t>  </a:t>
            </a:r>
            <a:r>
              <a:rPr kumimoji="0" lang="en-US" sz="2600" b="1" i="0" u="none" strike="noStrike" kern="1200" cap="none" spc="0" normalizeH="0" baseline="0" noProof="0" dirty="0">
                <a:ln>
                  <a:noFill/>
                </a:ln>
                <a:solidFill>
                  <a:srgbClr val="3F3F3F"/>
                </a:solidFill>
                <a:effectLst/>
                <a:uLnTx/>
                <a:uFillTx/>
                <a:latin typeface="Open Sans"/>
                <a:ea typeface="+mn-ea"/>
                <a:cs typeface="+mn-cs"/>
              </a:rPr>
              <a:t>SharePoint Designer only works with SharePoint.</a:t>
            </a:r>
            <a:r>
              <a:rPr kumimoji="0" lang="en-US" sz="2600" b="0" i="0" u="none" strike="noStrike" kern="1200" cap="none" spc="0" normalizeH="0" baseline="0" noProof="0" dirty="0">
                <a:ln>
                  <a:noFill/>
                </a:ln>
                <a:solidFill>
                  <a:srgbClr val="3F3F3F"/>
                </a:solidFill>
                <a:effectLst/>
                <a:uLnTx/>
                <a:uFillTx/>
                <a:latin typeface="Open Sans"/>
                <a:ea typeface="+mn-ea"/>
                <a:cs typeface="+mn-cs"/>
              </a:rPr>
              <a:t>   </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3F3F3F"/>
                </a:solidFill>
                <a:effectLst/>
                <a:uLnTx/>
                <a:uFillTx/>
                <a:latin typeface="Open Sans"/>
                <a:ea typeface="+mn-ea"/>
                <a:cs typeface="+mn-cs"/>
              </a:rPr>
              <a:t>SharePoint Designer workflows also only work within a single site.  Power Automate can go between sites, site collections and even different tenants and farms.  </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3F3F3F"/>
                </a:solidFill>
                <a:effectLst/>
                <a:uLnTx/>
                <a:uFillTx/>
                <a:latin typeface="Open Sans"/>
                <a:ea typeface="+mn-ea"/>
                <a:cs typeface="+mn-cs"/>
              </a:rPr>
              <a:t>Power Automate is much more extendable in terms of business automation.</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600" b="0" i="0" u="none" strike="noStrike" kern="1200" cap="none" spc="0" normalizeH="0" baseline="0" noProof="0" dirty="0">
              <a:ln>
                <a:noFill/>
              </a:ln>
              <a:solidFill>
                <a:srgbClr val="3F3F3F"/>
              </a:solidFill>
              <a:effectLst/>
              <a:uLnTx/>
              <a:uFillTx/>
              <a:latin typeface="Open Sans"/>
              <a:ea typeface="+mn-ea"/>
              <a:cs typeface="+mn-cs"/>
            </a:endParaRPr>
          </a:p>
          <a:p>
            <a:pPr algn="l"/>
            <a:r>
              <a:rPr lang="en-US" sz="5400" b="1" i="0" dirty="0">
                <a:solidFill>
                  <a:srgbClr val="171717"/>
                </a:solidFill>
                <a:effectLst/>
                <a:latin typeface="Segoe UI" panose="020B0502040204020203" pitchFamily="34" charset="0"/>
              </a:rPr>
              <a:t>List and library workflows</a:t>
            </a:r>
            <a:r>
              <a:rPr lang="en-US" sz="5400" b="0" i="0" dirty="0">
                <a:solidFill>
                  <a:srgbClr val="171717"/>
                </a:solidFill>
                <a:effectLst/>
                <a:latin typeface="Segoe UI" panose="020B0502040204020203" pitchFamily="34" charset="0"/>
              </a:rPr>
              <a:t>   Usually, a workflow applies to a specific repository of items—either documents in a document library or a SharePoint list that holds structured data. A common application of a list workflow is to enable a process for approving documents.</a:t>
            </a:r>
          </a:p>
          <a:p>
            <a:pPr algn="l">
              <a:buFont typeface="Arial" panose="020B0604020202020204" pitchFamily="34" charset="0"/>
              <a:buChar char="•"/>
            </a:pPr>
            <a:r>
              <a:rPr lang="en-US" sz="5400" b="1" i="0" dirty="0">
                <a:solidFill>
                  <a:srgbClr val="171717"/>
                </a:solidFill>
                <a:effectLst/>
                <a:latin typeface="Segoe UI" panose="020B0502040204020203" pitchFamily="34" charset="0"/>
              </a:rPr>
              <a:t>Reusable workflows</a:t>
            </a:r>
            <a:r>
              <a:rPr lang="en-US" sz="5400" b="0" i="0" dirty="0">
                <a:solidFill>
                  <a:srgbClr val="171717"/>
                </a:solidFill>
                <a:effectLst/>
                <a:latin typeface="Segoe UI" panose="020B0502040204020203" pitchFamily="34" charset="0"/>
              </a:rPr>
              <a:t>   Even with no-code development, it can take substantial time and analysis to build workflows. In earlier versions of SharePoint, workflows applied to a single list or library only. In SharePoint 2010, you can create list workflows that have full reusability and exportability. These reusable workflows do not rely on a specific list but can be associated with any list. Further, the workflow design can be reused and associated with multiple lists. In addition, you can use the </a:t>
            </a:r>
            <a:r>
              <a:rPr lang="en-US" sz="5400" b="1" i="0" dirty="0">
                <a:solidFill>
                  <a:srgbClr val="171717"/>
                </a:solidFill>
                <a:effectLst/>
                <a:latin typeface="Segoe UI" panose="020B0502040204020203" pitchFamily="34" charset="0"/>
              </a:rPr>
              <a:t>Save as Template</a:t>
            </a:r>
            <a:r>
              <a:rPr lang="en-US" sz="5400" b="0" i="0" dirty="0">
                <a:solidFill>
                  <a:srgbClr val="171717"/>
                </a:solidFill>
                <a:effectLst/>
                <a:latin typeface="Segoe UI" panose="020B0502040204020203" pitchFamily="34" charset="0"/>
              </a:rPr>
              <a:t> command to create a SharePoint solution package (,wsp file) that contains a reusable workflow; this workflow can be moved to another SharePoint server or to Microsoft Visual Studio 2010.</a:t>
            </a:r>
          </a:p>
          <a:p>
            <a:pPr algn="l">
              <a:buFont typeface="Arial" panose="020B0604020202020204" pitchFamily="34" charset="0"/>
              <a:buChar char="•"/>
            </a:pPr>
            <a:r>
              <a:rPr lang="en-US" sz="5400" b="1" i="0" dirty="0">
                <a:solidFill>
                  <a:srgbClr val="171717"/>
                </a:solidFill>
                <a:effectLst/>
                <a:latin typeface="Segoe UI" panose="020B0502040204020203" pitchFamily="34" charset="0"/>
              </a:rPr>
              <a:t>Site workflows</a:t>
            </a:r>
            <a:r>
              <a:rPr lang="en-US" sz="5400" b="0" i="0" dirty="0">
                <a:solidFill>
                  <a:srgbClr val="171717"/>
                </a:solidFill>
                <a:effectLst/>
                <a:latin typeface="Segoe UI" panose="020B0502040204020203" pitchFamily="34" charset="0"/>
              </a:rPr>
              <a:t>   Workflows can be used with SharePoint 2010 sites. This feature is especially useful when the workflow implements a process that does not start as a result of a list item or document and must be initiated manually through the SharePoint UI or SharePoint API. It is also helpful if the workflow must monitor actions that occur in several places across the site.</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600" b="0" i="0" u="none" strike="noStrike" kern="1200" cap="none" spc="0" normalizeH="0" baseline="0" noProof="0" dirty="0">
              <a:ln>
                <a:noFill/>
              </a:ln>
              <a:solidFill>
                <a:srgbClr val="3F3F3F"/>
              </a:solidFill>
              <a:effectLst/>
              <a:uLnTx/>
              <a:uFillTx/>
              <a:latin typeface="Open Sans"/>
              <a:ea typeface="+mn-ea"/>
              <a:cs typeface="+mn-cs"/>
            </a:endParaRP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21</a:t>
            </a:fld>
            <a:endParaRPr lang="en-US" dirty="0"/>
          </a:p>
        </p:txBody>
      </p:sp>
    </p:spTree>
    <p:extLst>
      <p:ext uri="{BB962C8B-B14F-4D97-AF65-F5344CB8AC3E}">
        <p14:creationId xmlns:p14="http://schemas.microsoft.com/office/powerpoint/2010/main" val="31114515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Automated flows </a:t>
            </a:r>
            <a:r>
              <a:rPr lang="en-US" dirty="0"/>
              <a:t>- </a:t>
            </a:r>
            <a:r>
              <a:rPr lang="en-US" b="0" i="0" dirty="0">
                <a:solidFill>
                  <a:srgbClr val="171717"/>
                </a:solidFill>
                <a:effectLst/>
                <a:latin typeface="Segoe UI" panose="020B0502040204020203" pitchFamily="34" charset="0"/>
              </a:rPr>
              <a:t>Create a flow that performs one or more tasks automatically after it's triggered by an event. For example, create a flow that notifies you by email when someone sends a tweet that contains a keyword you specify. In this example, sending a tweet is the event, and sending mail is the action.</a:t>
            </a:r>
          </a:p>
          <a:p>
            <a:pPr marL="171450" indent="-171450">
              <a:buFont typeface="Arial" panose="020B0604020202020204" pitchFamily="34" charset="0"/>
              <a:buChar char="•"/>
            </a:pPr>
            <a:endParaRPr lang="en-US" b="0" i="0" dirty="0">
              <a:solidFill>
                <a:srgbClr val="171717"/>
              </a:solidFill>
              <a:effectLst/>
              <a:latin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Button flows - </a:t>
            </a:r>
            <a:r>
              <a:rPr lang="en-US" sz="1200" b="0" dirty="0"/>
              <a:t>Create buttons so that you can easily run repetitive tasks from any place, at anytime via your mobile device. Running buttons saves you time and, since the tasks they perform are automated, there will be less errors than if you manually did them.</a:t>
            </a:r>
          </a:p>
          <a:p>
            <a:pPr marL="171450" indent="-171450">
              <a:buFont typeface="Arial" panose="020B0604020202020204" pitchFamily="34" charset="0"/>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Scheduled flows - </a:t>
            </a:r>
            <a:r>
              <a:rPr lang="en-US" sz="1200" b="0" dirty="0"/>
              <a:t>Create a flow that performs one or more tasks (such as sending a report in emai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t>		- once a day, an hour, or a minu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t>		- on a date that you specif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t>		- after a number of days, hours, or minutes that you specify</a:t>
            </a:r>
          </a:p>
          <a:p>
            <a:pPr marL="171450" indent="-171450">
              <a:buFont typeface="Arial" panose="020B0604020202020204" pitchFamily="34" charset="0"/>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Business process flows - </a:t>
            </a:r>
            <a:r>
              <a:rPr lang="en-US" sz="1200" b="0" dirty="0"/>
              <a:t>Business process flows provide a guide for people to get work done. They provide a streamlined user experience that leads people through the processes their organization has defined for interactions that need to be advanced to a conclusion of some kind. This user experience can be tailored so that people with different security roles can have an experience that best suits the work they do.</a:t>
            </a:r>
          </a:p>
          <a:p>
            <a:pPr marL="171450" indent="-171450">
              <a:buFont typeface="Arial" panose="020B0604020202020204" pitchFamily="34" charset="0"/>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UI flows - </a:t>
            </a:r>
            <a:r>
              <a:rPr lang="en-US" sz="1200" b="0" dirty="0"/>
              <a:t>UI flows brings Robotic Process Automation (RPA) capabilities to Power Automate. You can use UI flows to automate repetitive tasks in Windows and Web applications. UI flows records and plays back user interface actions (clicks, keyboard input, etc.) for applications that don't have easy-to-use or complete APIs availab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t>More info here = https://docs.microsoft.com/en-us/power-automate/getting-started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22</a:t>
            </a:fld>
            <a:endParaRPr lang="en-US" dirty="0"/>
          </a:p>
        </p:txBody>
      </p:sp>
    </p:spTree>
    <p:extLst>
      <p:ext uri="{BB962C8B-B14F-4D97-AF65-F5344CB8AC3E}">
        <p14:creationId xmlns:p14="http://schemas.microsoft.com/office/powerpoint/2010/main" val="2148119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173805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F3F3F"/>
                </a:solidFill>
                <a:effectLst/>
                <a:latin typeface="Open Sans"/>
              </a:rPr>
              <a:t>SharePoint Designer was first introduced in </a:t>
            </a:r>
            <a:r>
              <a:rPr lang="en-US" b="0" i="0" u="none" strike="noStrike" dirty="0">
                <a:solidFill>
                  <a:srgbClr val="1FBAC0"/>
                </a:solidFill>
                <a:effectLst/>
                <a:latin typeface="Open Sans"/>
              </a:rPr>
              <a:t>2007</a:t>
            </a:r>
            <a:r>
              <a:rPr lang="en-US" b="0" i="0" dirty="0">
                <a:solidFill>
                  <a:srgbClr val="3F3F3F"/>
                </a:solidFill>
                <a:effectLst/>
                <a:latin typeface="Open Sans"/>
              </a:rPr>
              <a:t>.  Its primary objectives were two-fold: design customization and business automation.  Design customization over time was learned to be a not so good idea.  Web coding standards have evolved to be more scalable, faster and more secure.  Design styles have changed drastically even from 2007.  Business automation however has been and always will be a cornerstone of why people love to use SharePoint.</a:t>
            </a:r>
          </a:p>
          <a:p>
            <a:pPr algn="l"/>
            <a:endParaRPr lang="en-US" b="0" i="0" dirty="0">
              <a:solidFill>
                <a:srgbClr val="3F3F3F"/>
              </a:solidFill>
              <a:effectLst/>
              <a:latin typeface="Open Sans"/>
            </a:endParaRPr>
          </a:p>
          <a:p>
            <a:pPr algn="l"/>
            <a:r>
              <a:rPr lang="en-US" b="0" i="0" dirty="0">
                <a:solidFill>
                  <a:srgbClr val="3F3F3F"/>
                </a:solidFill>
                <a:effectLst/>
                <a:latin typeface="Open Sans"/>
              </a:rPr>
              <a:t>SharePoint Designer (SPD) has evolved greatly since 2007.  </a:t>
            </a:r>
            <a:r>
              <a:rPr lang="en-US" b="1" i="0" dirty="0">
                <a:solidFill>
                  <a:srgbClr val="3F3F3F"/>
                </a:solidFill>
                <a:effectLst/>
                <a:latin typeface="Open Sans"/>
              </a:rPr>
              <a:t>2 newer iterations have launched since then; SPD 2010 and 2013</a:t>
            </a:r>
            <a:r>
              <a:rPr lang="en-US" b="0" i="0" dirty="0">
                <a:solidFill>
                  <a:srgbClr val="3F3F3F"/>
                </a:solidFill>
                <a:effectLst/>
                <a:latin typeface="Open Sans"/>
              </a:rPr>
              <a:t>.  SPD 2010 included everything 2007 did and much more.  SPD 2013 on the other hand left out some goodies that SPD 2010 had, but you could at least still create and run SPD 2010 workflows within SPD 2013.  Fast forward to today and no new SharePoint Designer has been launched since then.  This includes the launches of SharePoint 2016, 2019 and Online.</a:t>
            </a: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23</a:t>
            </a:fld>
            <a:endParaRPr lang="en-US" dirty="0"/>
          </a:p>
        </p:txBody>
      </p:sp>
    </p:spTree>
    <p:extLst>
      <p:ext uri="{BB962C8B-B14F-4D97-AF65-F5344CB8AC3E}">
        <p14:creationId xmlns:p14="http://schemas.microsoft.com/office/powerpoint/2010/main" val="2335539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arePoint Designer Ribbon</a:t>
            </a:r>
            <a:r>
              <a:rPr lang="en-US" dirty="0"/>
              <a:t>: The ribbon up top has most of the stuff you need, with the editor in the main page area.  This will contain your workflow stages (and steps), which contain conditions and actions that are executed in sequence top down. </a:t>
            </a:r>
          </a:p>
          <a:p>
            <a:endParaRPr lang="en-US" dirty="0"/>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24</a:t>
            </a:fld>
            <a:endParaRPr lang="en-US" dirty="0"/>
          </a:p>
        </p:txBody>
      </p:sp>
    </p:spTree>
    <p:extLst>
      <p:ext uri="{BB962C8B-B14F-4D97-AF65-F5344CB8AC3E}">
        <p14:creationId xmlns:p14="http://schemas.microsoft.com/office/powerpoint/2010/main" val="41364969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SharePoint Designer Workflow is an automated business process which is used for automating your business activities. By using designer workflow you can assign a task or work to a Group or a single person. After assigning the task to a group or a single person, We can track that current task status to know whether it is progressing or no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Microsoft Power Automate is tightly integrated to SharePoint Online but it is not only used for SharePoint, then to create a SharePoint task you need to add a new item into specific SharePoint task lis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Microsoft Power Automate leverages the more simplistic concepts of Create Item and Update Item actions to manage the creation and updating of SharePoint task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25</a:t>
            </a:fld>
            <a:endParaRPr lang="en-US" dirty="0"/>
          </a:p>
        </p:txBody>
      </p:sp>
    </p:spTree>
    <p:extLst>
      <p:ext uri="{BB962C8B-B14F-4D97-AF65-F5344CB8AC3E}">
        <p14:creationId xmlns:p14="http://schemas.microsoft.com/office/powerpoint/2010/main" val="14062788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26</a:t>
            </a:fld>
            <a:endParaRPr lang="en-US" dirty="0"/>
          </a:p>
        </p:txBody>
      </p:sp>
    </p:spTree>
    <p:extLst>
      <p:ext uri="{BB962C8B-B14F-4D97-AF65-F5344CB8AC3E}">
        <p14:creationId xmlns:p14="http://schemas.microsoft.com/office/powerpoint/2010/main" val="17582345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27</a:t>
            </a:fld>
            <a:endParaRPr lang="en-US" dirty="0"/>
          </a:p>
        </p:txBody>
      </p:sp>
    </p:spTree>
    <p:extLst>
      <p:ext uri="{BB962C8B-B14F-4D97-AF65-F5344CB8AC3E}">
        <p14:creationId xmlns:p14="http://schemas.microsoft.com/office/powerpoint/2010/main" val="5125729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arePoint Designer Actions</a:t>
            </a:r>
          </a:p>
          <a:p>
            <a:pPr marL="228600" indent="-228600" defTabSz="914400">
              <a:lnSpc>
                <a:spcPct val="90000"/>
              </a:lnSpc>
              <a:spcBef>
                <a:spcPts val="1000"/>
              </a:spcBef>
              <a:buFont typeface="Arial" panose="020B0604020202020204" pitchFamily="34" charset="0"/>
              <a:buChar char="•"/>
            </a:pPr>
            <a:r>
              <a:rPr lang="en-US" sz="1200" dirty="0">
                <a:solidFill>
                  <a:srgbClr val="767676"/>
                </a:solidFill>
                <a:latin typeface="SegoeUI"/>
              </a:rPr>
              <a:t>If steps are the "where" and conditions are the "when," actions are the critical "what" piece of the workflow story. </a:t>
            </a:r>
          </a:p>
          <a:p>
            <a:pPr marL="228600" indent="-228600" defTabSz="914400">
              <a:lnSpc>
                <a:spcPct val="90000"/>
              </a:lnSpc>
              <a:spcBef>
                <a:spcPts val="1000"/>
              </a:spcBef>
              <a:buFont typeface="Arial" panose="020B0604020202020204" pitchFamily="34" charset="0"/>
              <a:buChar char="•"/>
            </a:pPr>
            <a:r>
              <a:rPr lang="en-US" sz="1200" dirty="0">
                <a:solidFill>
                  <a:srgbClr val="767676"/>
                </a:solidFill>
                <a:latin typeface="SegoeUI"/>
              </a:rPr>
              <a:t>An action can be anything—from working with an item associated with the workflow, to sending email to a certain participant, to updating another data repository.</a:t>
            </a:r>
          </a:p>
          <a:p>
            <a:pPr marL="228600" indent="-228600" defTabSz="914400">
              <a:lnSpc>
                <a:spcPct val="90000"/>
              </a:lnSpc>
              <a:spcBef>
                <a:spcPts val="1000"/>
              </a:spcBef>
              <a:buFont typeface="Arial" panose="020B0604020202020204" pitchFamily="34" charset="0"/>
              <a:buChar char="•"/>
            </a:pPr>
            <a:r>
              <a:rPr lang="en-US" sz="1200" dirty="0">
                <a:solidFill>
                  <a:srgbClr val="767676"/>
                </a:solidFill>
                <a:latin typeface="SegoeUI"/>
              </a:rPr>
              <a:t>You can build custom actions, but SharePoint Designer 2010 includes a comprehensive set of actions that enables you to build even complex examples of most common business processes in SharePoint 2010.</a:t>
            </a:r>
          </a:p>
          <a:p>
            <a:endParaRPr lang="en-US" dirty="0"/>
          </a:p>
          <a:p>
            <a:r>
              <a:rPr lang="en-US" dirty="0"/>
              <a:t>Power Automat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767676"/>
                </a:solidFill>
                <a:effectLst/>
                <a:uLnTx/>
                <a:uFillTx/>
                <a:latin typeface="SegoeUI"/>
                <a:ea typeface="+mn-ea"/>
                <a:cs typeface="+mn-cs"/>
              </a:rPr>
              <a:t>Actions in Power Automate are the same in concept as actions in Designer workflow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767676"/>
                </a:solidFill>
                <a:effectLst/>
                <a:uLnTx/>
                <a:uFillTx/>
                <a:latin typeface="SegoeUI"/>
                <a:ea typeface="+mn-ea"/>
                <a:cs typeface="+mn-cs"/>
              </a:rPr>
              <a:t>Actions are the "verb" - they do the work.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767676"/>
                </a:solidFill>
                <a:effectLst/>
                <a:uLnTx/>
                <a:uFillTx/>
                <a:latin typeface="SegoeUI"/>
                <a:ea typeface="+mn-ea"/>
                <a:cs typeface="+mn-cs"/>
              </a:rPr>
              <a:t>Currently, there are many SharePoint actions (with more planned).  </a:t>
            </a: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28</a:t>
            </a:fld>
            <a:endParaRPr lang="en-US" dirty="0"/>
          </a:p>
        </p:txBody>
      </p:sp>
    </p:spTree>
    <p:extLst>
      <p:ext uri="{BB962C8B-B14F-4D97-AF65-F5344CB8AC3E}">
        <p14:creationId xmlns:p14="http://schemas.microsoft.com/office/powerpoint/2010/main" val="5125729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30</a:t>
            </a:fld>
            <a:endParaRPr lang="en-US" dirty="0"/>
          </a:p>
        </p:txBody>
      </p:sp>
    </p:spTree>
    <p:extLst>
      <p:ext uri="{BB962C8B-B14F-4D97-AF65-F5344CB8AC3E}">
        <p14:creationId xmlns:p14="http://schemas.microsoft.com/office/powerpoint/2010/main" val="17582345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31</a:t>
            </a:fld>
            <a:endParaRPr lang="en-US" dirty="0"/>
          </a:p>
        </p:txBody>
      </p:sp>
    </p:spTree>
    <p:extLst>
      <p:ext uri="{BB962C8B-B14F-4D97-AF65-F5344CB8AC3E}">
        <p14:creationId xmlns:p14="http://schemas.microsoft.com/office/powerpoint/2010/main" val="7506218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33</a:t>
            </a:fld>
            <a:endParaRPr lang="en-US" dirty="0"/>
          </a:p>
        </p:txBody>
      </p:sp>
    </p:spTree>
    <p:extLst>
      <p:ext uri="{BB962C8B-B14F-4D97-AF65-F5344CB8AC3E}">
        <p14:creationId xmlns:p14="http://schemas.microsoft.com/office/powerpoint/2010/main" val="7506218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444240"/>
                </a:solidFill>
                <a:effectLst/>
                <a:latin typeface="Raleway"/>
              </a:rPr>
              <a:t>Think of variables as temporary storage of values while a workflow is running.  Variables are available in any step / action / condition in the workflow/Flow once defined.</a:t>
            </a: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1</a:t>
            </a:fld>
            <a:endParaRPr lang="en-US" dirty="0"/>
          </a:p>
        </p:txBody>
      </p:sp>
    </p:spTree>
    <p:extLst>
      <p:ext uri="{BB962C8B-B14F-4D97-AF65-F5344CB8AC3E}">
        <p14:creationId xmlns:p14="http://schemas.microsoft.com/office/powerpoint/2010/main" val="512572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766707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SharePoint Designer:</a:t>
            </a:r>
          </a:p>
          <a:p>
            <a:pPr marL="0" indent="0" algn="l">
              <a:buFont typeface="Arial" panose="020B0604020202020204" pitchFamily="34" charset="0"/>
              <a:buNone/>
            </a:pPr>
            <a:r>
              <a:rPr lang="en-US" b="1" i="0" dirty="0">
                <a:solidFill>
                  <a:srgbClr val="171717"/>
                </a:solidFill>
                <a:effectLst/>
                <a:latin typeface="Segoe UI" panose="020B0502040204020203" pitchFamily="34" charset="0"/>
              </a:rPr>
              <a:t>Where to find the workflow condition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There are two ways to access the menu of available workflow condition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While you are editing inside a workflow step, do one of the following:</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On the </a:t>
            </a:r>
            <a:r>
              <a:rPr lang="en-US" b="1" i="0" dirty="0">
                <a:solidFill>
                  <a:srgbClr val="171717"/>
                </a:solidFill>
                <a:effectLst/>
                <a:latin typeface="Segoe UI" panose="020B0502040204020203" pitchFamily="34" charset="0"/>
              </a:rPr>
              <a:t>Workflow</a:t>
            </a:r>
            <a:r>
              <a:rPr lang="en-US" b="0" i="0" dirty="0">
                <a:solidFill>
                  <a:srgbClr val="171717"/>
                </a:solidFill>
                <a:effectLst/>
                <a:latin typeface="Segoe UI" panose="020B0502040204020203" pitchFamily="34" charset="0"/>
              </a:rPr>
              <a:t> tab, in the </a:t>
            </a:r>
            <a:r>
              <a:rPr lang="en-US" b="1" i="0" dirty="0">
                <a:solidFill>
                  <a:srgbClr val="171717"/>
                </a:solidFill>
                <a:effectLst/>
                <a:latin typeface="Segoe UI" panose="020B0502040204020203" pitchFamily="34" charset="0"/>
              </a:rPr>
              <a:t>Insert</a:t>
            </a:r>
            <a:r>
              <a:rPr lang="en-US" b="0" i="0" dirty="0">
                <a:solidFill>
                  <a:srgbClr val="171717"/>
                </a:solidFill>
                <a:effectLst/>
                <a:latin typeface="Segoe UI" panose="020B0502040204020203" pitchFamily="34" charset="0"/>
              </a:rPr>
              <a:t> group, click </a:t>
            </a:r>
            <a:r>
              <a:rPr lang="en-US" b="1" i="0" dirty="0">
                <a:solidFill>
                  <a:srgbClr val="171717"/>
                </a:solidFill>
                <a:effectLst/>
                <a:latin typeface="Segoe UI" panose="020B0502040204020203" pitchFamily="34" charset="0"/>
              </a:rPr>
              <a:t>Conditions</a:t>
            </a:r>
            <a:r>
              <a:rPr lang="en-US" b="0" i="0" dirty="0">
                <a:solidFill>
                  <a:srgbClr val="171717"/>
                </a:solidFill>
                <a:effectLst/>
                <a:latin typeface="Segoe UI" panose="020B0502040204020203" pitchFamily="34" charset="0"/>
              </a:rPr>
              <a:t> to open the list of workflow actions.</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Double-click inside a workflow step. In the search box that appears, type text that appears in the name of the condition that you want, such as "created", and then press Enter. Actions and conditions that contain the text you typed appear after the text box.</a:t>
            </a:r>
          </a:p>
          <a:p>
            <a:pPr marL="171450" indent="-171450" algn="l">
              <a:buFont typeface="Arial" panose="020B0604020202020204" pitchFamily="34" charset="0"/>
              <a:buChar char="•"/>
            </a:pPr>
            <a:r>
              <a:rPr lang="en-US" b="0" i="0" dirty="0">
                <a:solidFill>
                  <a:srgbClr val="171717"/>
                </a:solidFill>
                <a:effectLst/>
                <a:latin typeface="Segoe UI" panose="020B0502040204020203" pitchFamily="34" charset="0"/>
              </a:rPr>
              <a:t>Which conditions are available to you while you are creating or modifying a workflow depends on the precise context that you are working in.</a:t>
            </a:r>
          </a:p>
          <a:p>
            <a:endParaRPr lang="en-US" dirty="0"/>
          </a:p>
          <a:p>
            <a:r>
              <a:rPr lang="en-US" dirty="0"/>
              <a:t>Power Automate:</a:t>
            </a:r>
          </a:p>
          <a:p>
            <a:r>
              <a:rPr lang="en-US" dirty="0"/>
              <a:t>Specify that a flow performs one or more tasks only if a condition is true. For example, specify that you'll get an email only if a tweet that contains a keyword is retweeted at least 10 times.</a:t>
            </a:r>
          </a:p>
          <a:p>
            <a:pPr algn="l"/>
            <a:r>
              <a:rPr lang="en-US" b="1" i="0" dirty="0">
                <a:solidFill>
                  <a:srgbClr val="171717"/>
                </a:solidFill>
                <a:effectLst/>
                <a:latin typeface="Segoe UI" panose="020B0502040204020203" pitchFamily="34" charset="0"/>
              </a:rPr>
              <a:t>Add a condition</a:t>
            </a:r>
          </a:p>
          <a:p>
            <a:pPr algn="l">
              <a:buFont typeface="+mj-lt"/>
              <a:buAutoNum type="arabicPeriod"/>
            </a:pPr>
            <a:r>
              <a:rPr lang="en-US" b="0" i="0" dirty="0">
                <a:solidFill>
                  <a:srgbClr val="171717"/>
                </a:solidFill>
                <a:effectLst/>
                <a:latin typeface="Segoe UI" panose="020B0502040204020203" pitchFamily="34" charset="0"/>
              </a:rPr>
              <a:t>In </a:t>
            </a:r>
            <a:r>
              <a:rPr lang="en-US" b="0" i="0" u="none" strike="noStrike" dirty="0">
                <a:solidFill>
                  <a:srgbClr val="171717"/>
                </a:solidFill>
                <a:effectLst/>
                <a:latin typeface="Segoe UI" panose="020B0502040204020203" pitchFamily="34" charset="0"/>
                <a:hlinkClick r:id="rId3"/>
              </a:rPr>
              <a:t>Power Automate</a:t>
            </a:r>
            <a:r>
              <a:rPr lang="en-US" b="0" i="0" dirty="0">
                <a:solidFill>
                  <a:srgbClr val="171717"/>
                </a:solidFill>
                <a:effectLst/>
                <a:latin typeface="Segoe UI" panose="020B0502040204020203" pitchFamily="34" charset="0"/>
              </a:rPr>
              <a:t>, select </a:t>
            </a:r>
            <a:r>
              <a:rPr lang="en-US" b="1" i="0" dirty="0">
                <a:solidFill>
                  <a:srgbClr val="171717"/>
                </a:solidFill>
                <a:effectLst/>
                <a:latin typeface="Segoe UI" panose="020B0502040204020203" pitchFamily="34" charset="0"/>
              </a:rPr>
              <a:t>My flows</a:t>
            </a:r>
            <a:r>
              <a:rPr lang="en-US" b="0" i="0" dirty="0">
                <a:solidFill>
                  <a:srgbClr val="171717"/>
                </a:solidFill>
                <a:effectLst/>
                <a:latin typeface="Segoe UI" panose="020B0502040204020203" pitchFamily="34" charset="0"/>
              </a:rPr>
              <a:t>.</a:t>
            </a:r>
          </a:p>
          <a:p>
            <a:pPr algn="l">
              <a:buFont typeface="+mj-lt"/>
              <a:buAutoNum type="arabicPeriod"/>
            </a:pPr>
            <a:r>
              <a:rPr lang="en-US" b="0" i="0" dirty="0">
                <a:solidFill>
                  <a:srgbClr val="171717"/>
                </a:solidFill>
                <a:effectLst/>
                <a:latin typeface="Segoe UI" panose="020B0502040204020203" pitchFamily="34" charset="0"/>
              </a:rPr>
              <a:t>You might need to sign in if you're not already signed in.</a:t>
            </a:r>
          </a:p>
          <a:p>
            <a:pPr algn="l">
              <a:buFont typeface="+mj-lt"/>
              <a:buAutoNum type="arabicPeriod"/>
            </a:pPr>
            <a:r>
              <a:rPr lang="en-US" b="0" i="0" dirty="0">
                <a:solidFill>
                  <a:srgbClr val="171717"/>
                </a:solidFill>
                <a:effectLst/>
                <a:latin typeface="Segoe UI" panose="020B0502040204020203" pitchFamily="34" charset="0"/>
              </a:rPr>
              <a:t>Select one of the flows from </a:t>
            </a:r>
            <a:r>
              <a:rPr lang="en-US" b="1" i="0" dirty="0">
                <a:solidFill>
                  <a:srgbClr val="171717"/>
                </a:solidFill>
                <a:effectLst/>
                <a:latin typeface="Segoe UI" panose="020B0502040204020203" pitchFamily="34" charset="0"/>
              </a:rPr>
              <a:t>My flows</a:t>
            </a:r>
            <a:r>
              <a:rPr lang="en-US" b="0" i="0" dirty="0">
                <a:solidFill>
                  <a:srgbClr val="171717"/>
                </a:solidFill>
                <a:effectLst/>
                <a:latin typeface="Segoe UI" panose="020B0502040204020203" pitchFamily="34" charset="0"/>
              </a:rPr>
              <a:t>, and then select </a:t>
            </a:r>
            <a:r>
              <a:rPr lang="en-US" b="1" i="0" dirty="0">
                <a:solidFill>
                  <a:srgbClr val="171717"/>
                </a:solidFill>
                <a:effectLst/>
                <a:latin typeface="Segoe UI" panose="020B0502040204020203" pitchFamily="34" charset="0"/>
              </a:rPr>
              <a:t>More commands</a:t>
            </a:r>
            <a:r>
              <a:rPr lang="en-US" b="0" i="0" dirty="0">
                <a:solidFill>
                  <a:srgbClr val="171717"/>
                </a:solidFill>
                <a:effectLst/>
                <a:latin typeface="Segoe UI" panose="020B0502040204020203" pitchFamily="34" charset="0"/>
              </a:rPr>
              <a:t> (the three dots).</a:t>
            </a:r>
          </a:p>
          <a:p>
            <a:pPr algn="l">
              <a:buFont typeface="+mj-lt"/>
              <a:buAutoNum type="arabicPeriod"/>
            </a:pPr>
            <a:r>
              <a:rPr lang="en-US" b="0" i="0" dirty="0">
                <a:solidFill>
                  <a:srgbClr val="171717"/>
                </a:solidFill>
                <a:effectLst/>
                <a:latin typeface="Segoe UI" panose="020B0502040204020203" pitchFamily="34" charset="0"/>
              </a:rPr>
              <a:t>This tutorial uses an example with a Twitter trigger and a SharePoint action.</a:t>
            </a:r>
          </a:p>
          <a:p>
            <a:pPr algn="l">
              <a:buFont typeface="+mj-lt"/>
              <a:buAutoNum type="arabicPeriod"/>
            </a:pPr>
            <a:r>
              <a:rPr lang="en-US" b="0" i="0" dirty="0">
                <a:solidFill>
                  <a:srgbClr val="171717"/>
                </a:solidFill>
                <a:effectLst/>
                <a:latin typeface="Segoe UI" panose="020B0502040204020203" pitchFamily="34" charset="0"/>
              </a:rPr>
              <a:t>Select </a:t>
            </a:r>
            <a:r>
              <a:rPr lang="en-US" b="1" i="0" dirty="0">
                <a:solidFill>
                  <a:srgbClr val="171717"/>
                </a:solidFill>
                <a:effectLst/>
                <a:latin typeface="Segoe UI" panose="020B0502040204020203" pitchFamily="34" charset="0"/>
              </a:rPr>
              <a:t>Edit</a:t>
            </a:r>
            <a:r>
              <a:rPr lang="en-US" b="0" i="0" dirty="0">
                <a:solidFill>
                  <a:srgbClr val="171717"/>
                </a:solidFill>
                <a:effectLst/>
                <a:latin typeface="Segoe UI" panose="020B0502040204020203" pitchFamily="34" charset="0"/>
              </a:rPr>
              <a:t>.</a:t>
            </a:r>
          </a:p>
          <a:p>
            <a:pPr algn="l">
              <a:buFont typeface="+mj-lt"/>
              <a:buAutoNum type="arabicPeriod"/>
            </a:pPr>
            <a:r>
              <a:rPr lang="en-US" b="0" i="0" dirty="0">
                <a:solidFill>
                  <a:srgbClr val="171717"/>
                </a:solidFill>
                <a:effectLst/>
                <a:latin typeface="Segoe UI" panose="020B0502040204020203" pitchFamily="34" charset="0"/>
              </a:rPr>
              <a:t>Under the last action, select </a:t>
            </a:r>
            <a:r>
              <a:rPr lang="en-US" b="1" i="0" dirty="0">
                <a:solidFill>
                  <a:srgbClr val="171717"/>
                </a:solidFill>
                <a:effectLst/>
                <a:latin typeface="Segoe UI" panose="020B0502040204020203" pitchFamily="34" charset="0"/>
              </a:rPr>
              <a:t>New step</a:t>
            </a:r>
            <a:r>
              <a:rPr lang="en-US" b="0" i="0" dirty="0">
                <a:solidFill>
                  <a:srgbClr val="171717"/>
                </a:solidFill>
                <a:effectLst/>
                <a:latin typeface="Segoe UI" panose="020B0502040204020203" pitchFamily="34" charset="0"/>
              </a:rPr>
              <a:t> &gt; </a:t>
            </a:r>
            <a:r>
              <a:rPr lang="en-US" b="1" i="0" dirty="0">
                <a:solidFill>
                  <a:srgbClr val="171717"/>
                </a:solidFill>
                <a:effectLst/>
                <a:latin typeface="Segoe UI" panose="020B0502040204020203" pitchFamily="34" charset="0"/>
              </a:rPr>
              <a:t>Condition</a:t>
            </a:r>
            <a:r>
              <a:rPr lang="en-US" b="0" i="0" dirty="0">
                <a:solidFill>
                  <a:srgbClr val="171717"/>
                </a:solidFill>
                <a:effectLst/>
                <a:latin typeface="Segoe UI" panose="020B0502040204020203" pitchFamily="34" charset="0"/>
              </a:rPr>
              <a:t>.</a:t>
            </a:r>
          </a:p>
          <a:p>
            <a:pPr algn="l">
              <a:buFont typeface="+mj-lt"/>
              <a:buAutoNum type="arabicPeriod"/>
            </a:pPr>
            <a:r>
              <a:rPr lang="en-US" b="0" i="0" dirty="0">
                <a:solidFill>
                  <a:srgbClr val="171717"/>
                </a:solidFill>
                <a:effectLst/>
                <a:latin typeface="Segoe UI" panose="020B0502040204020203" pitchFamily="34" charset="0"/>
              </a:rPr>
              <a:t>On the </a:t>
            </a:r>
            <a:r>
              <a:rPr lang="en-US" b="1" i="0" dirty="0">
                <a:solidFill>
                  <a:srgbClr val="171717"/>
                </a:solidFill>
                <a:effectLst/>
                <a:latin typeface="Segoe UI" panose="020B0502040204020203" pitchFamily="34" charset="0"/>
              </a:rPr>
              <a:t>Condition</a:t>
            </a:r>
            <a:r>
              <a:rPr lang="en-US" b="0" i="0" dirty="0">
                <a:solidFill>
                  <a:srgbClr val="171717"/>
                </a:solidFill>
                <a:effectLst/>
                <a:latin typeface="Segoe UI" panose="020B0502040204020203" pitchFamily="34" charset="0"/>
              </a:rPr>
              <a:t> card, select an empty area in box on the left.</a:t>
            </a:r>
          </a:p>
          <a:p>
            <a:pPr algn="l">
              <a:buFont typeface="+mj-lt"/>
              <a:buAutoNum type="arabicPeriod"/>
            </a:pPr>
            <a:r>
              <a:rPr lang="en-US" b="0" i="0" dirty="0">
                <a:solidFill>
                  <a:srgbClr val="171717"/>
                </a:solidFill>
                <a:effectLst/>
                <a:latin typeface="Segoe UI" panose="020B0502040204020203" pitchFamily="34" charset="0"/>
              </a:rPr>
              <a:t>The </a:t>
            </a:r>
            <a:r>
              <a:rPr lang="en-US" b="1" i="0" dirty="0">
                <a:solidFill>
                  <a:srgbClr val="171717"/>
                </a:solidFill>
                <a:effectLst/>
                <a:latin typeface="Segoe UI" panose="020B0502040204020203" pitchFamily="34" charset="0"/>
              </a:rPr>
              <a:t>Dynamic content</a:t>
            </a:r>
            <a:r>
              <a:rPr lang="en-US" b="0" i="0" dirty="0">
                <a:solidFill>
                  <a:srgbClr val="171717"/>
                </a:solidFill>
                <a:effectLst/>
                <a:latin typeface="Segoe UI" panose="020B0502040204020203" pitchFamily="34" charset="0"/>
              </a:rPr>
              <a:t> list opens.</a:t>
            </a:r>
          </a:p>
          <a:p>
            <a:pPr algn="l">
              <a:buFont typeface="+mj-lt"/>
              <a:buAutoNum type="arabicPeriod"/>
            </a:pPr>
            <a:r>
              <a:rPr lang="en-US" b="0" i="0" dirty="0">
                <a:solidFill>
                  <a:srgbClr val="171717"/>
                </a:solidFill>
                <a:effectLst/>
                <a:latin typeface="Segoe UI" panose="020B0502040204020203" pitchFamily="34" charset="0"/>
              </a:rPr>
              <a:t>Select the </a:t>
            </a:r>
            <a:r>
              <a:rPr lang="en-US" b="1" i="0" dirty="0">
                <a:solidFill>
                  <a:srgbClr val="171717"/>
                </a:solidFill>
                <a:effectLst/>
                <a:latin typeface="Segoe UI" panose="020B0502040204020203" pitchFamily="34" charset="0"/>
              </a:rPr>
              <a:t>Retweet count</a:t>
            </a:r>
            <a:r>
              <a:rPr lang="en-US" b="0" i="0" dirty="0">
                <a:solidFill>
                  <a:srgbClr val="171717"/>
                </a:solidFill>
                <a:effectLst/>
                <a:latin typeface="Segoe UI" panose="020B0502040204020203" pitchFamily="34" charset="0"/>
              </a:rPr>
              <a:t> parameter to add it to the box.</a:t>
            </a:r>
          </a:p>
          <a:p>
            <a:pPr algn="l">
              <a:buFont typeface="+mj-lt"/>
              <a:buAutoNum type="arabicPeriod"/>
            </a:pPr>
            <a:r>
              <a:rPr lang="en-US" b="0" i="0" dirty="0">
                <a:solidFill>
                  <a:srgbClr val="171717"/>
                </a:solidFill>
                <a:effectLst/>
                <a:latin typeface="Segoe UI" panose="020B0502040204020203" pitchFamily="34" charset="0"/>
              </a:rPr>
              <a:t>In the box in the middle of the </a:t>
            </a:r>
            <a:r>
              <a:rPr lang="en-US" b="1" i="0" dirty="0">
                <a:solidFill>
                  <a:srgbClr val="171717"/>
                </a:solidFill>
                <a:effectLst/>
                <a:latin typeface="Segoe UI" panose="020B0502040204020203" pitchFamily="34" charset="0"/>
              </a:rPr>
              <a:t>Condition</a:t>
            </a:r>
            <a:r>
              <a:rPr lang="en-US" b="0" i="0" dirty="0">
                <a:solidFill>
                  <a:srgbClr val="171717"/>
                </a:solidFill>
                <a:effectLst/>
                <a:latin typeface="Segoe UI" panose="020B0502040204020203" pitchFamily="34" charset="0"/>
              </a:rPr>
              <a:t> card, select </a:t>
            </a:r>
            <a:r>
              <a:rPr lang="en-US" b="1" i="0" dirty="0">
                <a:solidFill>
                  <a:srgbClr val="171717"/>
                </a:solidFill>
                <a:effectLst/>
                <a:latin typeface="Segoe UI" panose="020B0502040204020203" pitchFamily="34" charset="0"/>
              </a:rPr>
              <a:t>is greater than or equal to</a:t>
            </a:r>
            <a:r>
              <a:rPr lang="en-US" b="0" i="0" dirty="0">
                <a:solidFill>
                  <a:srgbClr val="171717"/>
                </a:solidFill>
                <a:effectLst/>
                <a:latin typeface="Segoe UI" panose="020B0502040204020203" pitchFamily="34" charset="0"/>
              </a:rPr>
              <a:t>.</a:t>
            </a:r>
          </a:p>
          <a:p>
            <a:pPr algn="l">
              <a:buFont typeface="+mj-lt"/>
              <a:buAutoNum type="arabicPeriod"/>
            </a:pPr>
            <a:r>
              <a:rPr lang="en-US" b="0" i="0" dirty="0">
                <a:solidFill>
                  <a:srgbClr val="171717"/>
                </a:solidFill>
                <a:effectLst/>
                <a:latin typeface="Segoe UI" panose="020B0502040204020203" pitchFamily="34" charset="0"/>
              </a:rPr>
              <a:t>In the box on the right, enter </a:t>
            </a:r>
            <a:r>
              <a:rPr lang="en-US" b="1" i="0" dirty="0">
                <a:solidFill>
                  <a:srgbClr val="171717"/>
                </a:solidFill>
                <a:effectLst/>
                <a:latin typeface="Segoe UI" panose="020B0502040204020203" pitchFamily="34" charset="0"/>
              </a:rPr>
              <a:t>10</a:t>
            </a:r>
            <a:r>
              <a:rPr lang="en-US" b="0" i="0" dirty="0">
                <a:solidFill>
                  <a:srgbClr val="171717"/>
                </a:solidFill>
                <a:effectLst/>
                <a:latin typeface="Segoe UI" panose="020B0502040204020203" pitchFamily="34" charset="0"/>
              </a:rPr>
              <a:t>.</a:t>
            </a:r>
          </a:p>
          <a:p>
            <a:pPr algn="l">
              <a:buFont typeface="+mj-lt"/>
              <a:buAutoNum type="arabicPeriod"/>
            </a:pPr>
            <a:r>
              <a:rPr lang="en-US" b="0" i="0" dirty="0">
                <a:solidFill>
                  <a:srgbClr val="171717"/>
                </a:solidFill>
                <a:effectLst/>
                <a:latin typeface="Segoe UI" panose="020B0502040204020203" pitchFamily="34" charset="0"/>
              </a:rPr>
              <a:t>Now that you've configured the condition, continue with the following steps to send an email if the </a:t>
            </a:r>
            <a:r>
              <a:rPr lang="en-US" b="1" i="0" dirty="0">
                <a:solidFill>
                  <a:srgbClr val="171717"/>
                </a:solidFill>
                <a:effectLst/>
                <a:latin typeface="Segoe UI" panose="020B0502040204020203" pitchFamily="34" charset="0"/>
              </a:rPr>
              <a:t>Retweet count</a:t>
            </a:r>
            <a:r>
              <a:rPr lang="en-US" b="0" i="0" dirty="0">
                <a:solidFill>
                  <a:srgbClr val="171717"/>
                </a:solidFill>
                <a:effectLst/>
                <a:latin typeface="Segoe UI" panose="020B0502040204020203" pitchFamily="34" charset="0"/>
              </a:rPr>
              <a:t> is more than 10.</a:t>
            </a:r>
          </a:p>
          <a:p>
            <a:pPr algn="l">
              <a:buFont typeface="+mj-lt"/>
              <a:buAutoNum type="arabicPeriod"/>
            </a:pPr>
            <a:r>
              <a:rPr lang="en-US" b="0" i="0" dirty="0">
                <a:solidFill>
                  <a:srgbClr val="171717"/>
                </a:solidFill>
                <a:effectLst/>
                <a:latin typeface="Segoe UI" panose="020B0502040204020203" pitchFamily="34" charset="0"/>
              </a:rPr>
              <a:t>Select </a:t>
            </a:r>
            <a:r>
              <a:rPr lang="en-US" b="1" i="0" dirty="0">
                <a:solidFill>
                  <a:srgbClr val="171717"/>
                </a:solidFill>
                <a:effectLst/>
                <a:latin typeface="Segoe UI" panose="020B0502040204020203" pitchFamily="34" charset="0"/>
              </a:rPr>
              <a:t>Add an action</a:t>
            </a:r>
            <a:r>
              <a:rPr lang="en-US" b="0" i="0" dirty="0">
                <a:solidFill>
                  <a:srgbClr val="171717"/>
                </a:solidFill>
                <a:effectLst/>
                <a:latin typeface="Segoe UI" panose="020B0502040204020203" pitchFamily="34" charset="0"/>
              </a:rPr>
              <a:t> on the </a:t>
            </a:r>
            <a:r>
              <a:rPr lang="en-US" b="1" i="0" dirty="0">
                <a:solidFill>
                  <a:srgbClr val="171717"/>
                </a:solidFill>
                <a:effectLst/>
                <a:latin typeface="Segoe UI" panose="020B0502040204020203" pitchFamily="34" charset="0"/>
              </a:rPr>
              <a:t>If yes</a:t>
            </a:r>
            <a:r>
              <a:rPr lang="en-US" b="0" i="0" dirty="0">
                <a:solidFill>
                  <a:srgbClr val="171717"/>
                </a:solidFill>
                <a:effectLst/>
                <a:latin typeface="Segoe UI" panose="020B0502040204020203" pitchFamily="34" charset="0"/>
              </a:rPr>
              <a:t> send of the condition.</a:t>
            </a:r>
          </a:p>
          <a:p>
            <a:pPr algn="l">
              <a:buFont typeface="+mj-lt"/>
              <a:buAutoNum type="arabicPeriod"/>
            </a:pPr>
            <a:r>
              <a:rPr lang="en-US" b="0" i="0" dirty="0">
                <a:solidFill>
                  <a:srgbClr val="171717"/>
                </a:solidFill>
                <a:effectLst/>
                <a:latin typeface="Segoe UI" panose="020B0502040204020203" pitchFamily="34" charset="0"/>
              </a:rPr>
              <a:t>Enter </a:t>
            </a:r>
            <a:r>
              <a:rPr lang="en-US" b="1" i="0" dirty="0">
                <a:solidFill>
                  <a:srgbClr val="171717"/>
                </a:solidFill>
                <a:effectLst/>
                <a:latin typeface="Segoe UI" panose="020B0502040204020203" pitchFamily="34" charset="0"/>
              </a:rPr>
              <a:t>Send an email</a:t>
            </a:r>
            <a:r>
              <a:rPr lang="en-US" b="0" i="0" dirty="0">
                <a:solidFill>
                  <a:srgbClr val="171717"/>
                </a:solidFill>
                <a:effectLst/>
                <a:latin typeface="Segoe UI" panose="020B0502040204020203" pitchFamily="34" charset="0"/>
              </a:rPr>
              <a:t> into the search box, and then select </a:t>
            </a:r>
            <a:r>
              <a:rPr lang="en-US" b="1" i="0" dirty="0">
                <a:solidFill>
                  <a:srgbClr val="171717"/>
                </a:solidFill>
                <a:effectLst/>
                <a:latin typeface="Segoe UI" panose="020B0502040204020203" pitchFamily="34" charset="0"/>
              </a:rPr>
              <a:t>Send an email (V2)</a:t>
            </a:r>
            <a:r>
              <a:rPr lang="en-US" b="0" i="0" dirty="0">
                <a:solidFill>
                  <a:srgbClr val="171717"/>
                </a:solidFill>
                <a:effectLst/>
                <a:latin typeface="Segoe UI" panose="020B0502040204020203" pitchFamily="34" charset="0"/>
              </a:rPr>
              <a:t>.</a:t>
            </a:r>
          </a:p>
          <a:p>
            <a:pPr algn="l">
              <a:buFont typeface="+mj-lt"/>
              <a:buAutoNum type="arabicPeriod"/>
            </a:pPr>
            <a:r>
              <a:rPr lang="en-US" b="0" i="0" dirty="0">
                <a:solidFill>
                  <a:srgbClr val="171717"/>
                </a:solidFill>
                <a:effectLst/>
                <a:latin typeface="Segoe UI" panose="020B0502040204020203" pitchFamily="34" charset="0"/>
              </a:rPr>
              <a:t>Configure the </a:t>
            </a:r>
            <a:r>
              <a:rPr lang="en-US" b="1" i="0" dirty="0">
                <a:solidFill>
                  <a:srgbClr val="171717"/>
                </a:solidFill>
                <a:effectLst/>
                <a:latin typeface="Segoe UI" panose="020B0502040204020203" pitchFamily="34" charset="0"/>
              </a:rPr>
              <a:t>Send an email (V2)</a:t>
            </a:r>
            <a:r>
              <a:rPr lang="en-US" b="0" i="0" dirty="0">
                <a:solidFill>
                  <a:srgbClr val="171717"/>
                </a:solidFill>
                <a:effectLst/>
                <a:latin typeface="Segoe UI" panose="020B0502040204020203" pitchFamily="34" charset="0"/>
              </a:rPr>
              <a:t> card to your liking, indicating the contents of the email that the flow sends if the </a:t>
            </a:r>
            <a:r>
              <a:rPr lang="en-US" b="1" i="0" dirty="0">
                <a:solidFill>
                  <a:srgbClr val="171717"/>
                </a:solidFill>
                <a:effectLst/>
                <a:latin typeface="Segoe UI" panose="020B0502040204020203" pitchFamily="34" charset="0"/>
              </a:rPr>
              <a:t>Retweet count</a:t>
            </a:r>
            <a:r>
              <a:rPr lang="en-US" b="0" i="0" dirty="0">
                <a:solidFill>
                  <a:srgbClr val="171717"/>
                </a:solidFill>
                <a:effectLst/>
                <a:latin typeface="Segoe UI" panose="020B0502040204020203" pitchFamily="34" charset="0"/>
              </a:rPr>
              <a:t> is greater than 10.</a:t>
            </a:r>
          </a:p>
          <a:p>
            <a:pPr algn="l">
              <a:buFont typeface="+mj-lt"/>
              <a:buAutoNum type="arabicPeriod"/>
            </a:pPr>
            <a:r>
              <a:rPr lang="en-US" b="0" i="0" dirty="0">
                <a:solidFill>
                  <a:srgbClr val="171717"/>
                </a:solidFill>
                <a:effectLst/>
                <a:latin typeface="Segoe UI" panose="020B0502040204020203" pitchFamily="34" charset="0"/>
              </a:rPr>
              <a:t>You can also configure the </a:t>
            </a:r>
            <a:r>
              <a:rPr lang="en-US" b="1" i="0" dirty="0">
                <a:solidFill>
                  <a:srgbClr val="171717"/>
                </a:solidFill>
                <a:effectLst/>
                <a:latin typeface="Segoe UI" panose="020B0502040204020203" pitchFamily="34" charset="0"/>
              </a:rPr>
              <a:t>If no</a:t>
            </a:r>
            <a:r>
              <a:rPr lang="en-US" b="0" i="0" dirty="0">
                <a:solidFill>
                  <a:srgbClr val="171717"/>
                </a:solidFill>
                <a:effectLst/>
                <a:latin typeface="Segoe UI" panose="020B0502040204020203" pitchFamily="34" charset="0"/>
              </a:rPr>
              <a:t> side of the condition if you'd like to take an when the </a:t>
            </a:r>
            <a:r>
              <a:rPr lang="en-US" b="1" i="0" dirty="0">
                <a:solidFill>
                  <a:srgbClr val="171717"/>
                </a:solidFill>
                <a:effectLst/>
                <a:latin typeface="Segoe UI" panose="020B0502040204020203" pitchFamily="34" charset="0"/>
              </a:rPr>
              <a:t>Retweet count</a:t>
            </a:r>
            <a:r>
              <a:rPr lang="en-US" b="0" i="0" dirty="0">
                <a:solidFill>
                  <a:srgbClr val="171717"/>
                </a:solidFill>
                <a:effectLst/>
                <a:latin typeface="Segoe UI" panose="020B0502040204020203" pitchFamily="34" charset="0"/>
              </a:rPr>
              <a:t> is less than 10.</a:t>
            </a:r>
          </a:p>
          <a:p>
            <a:pPr algn="l">
              <a:buFont typeface="+mj-lt"/>
              <a:buAutoNum type="arabicPeriod"/>
            </a:pPr>
            <a:r>
              <a:rPr lang="en-US" b="0" i="0" dirty="0">
                <a:solidFill>
                  <a:srgbClr val="171717"/>
                </a:solidFill>
                <a:effectLst/>
                <a:latin typeface="Segoe UI" panose="020B0502040204020203" pitchFamily="34" charset="0"/>
              </a:rPr>
              <a:t>Save the flow.</a:t>
            </a:r>
          </a:p>
          <a:p>
            <a:endParaRPr lang="en-US" dirty="0"/>
          </a:p>
          <a:p>
            <a:endParaRPr lang="en-US" dirty="0"/>
          </a:p>
          <a:p>
            <a:br>
              <a:rPr lang="en-US" dirty="0"/>
            </a:br>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2</a:t>
            </a:fld>
            <a:endParaRPr lang="en-US" dirty="0"/>
          </a:p>
        </p:txBody>
      </p:sp>
    </p:spTree>
    <p:extLst>
      <p:ext uri="{BB962C8B-B14F-4D97-AF65-F5344CB8AC3E}">
        <p14:creationId xmlns:p14="http://schemas.microsoft.com/office/powerpoint/2010/main" val="5125729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teps :</a:t>
            </a:r>
            <a:r>
              <a:rPr lang="en-US" dirty="0"/>
              <a:t>  Steps are the primary means of structure and organization within a workflow or Flow. A step contains one or more actions and, optionally, one or more condi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3</a:t>
            </a:fld>
            <a:endParaRPr lang="en-US" dirty="0"/>
          </a:p>
        </p:txBody>
      </p:sp>
    </p:spTree>
    <p:extLst>
      <p:ext uri="{BB962C8B-B14F-4D97-AF65-F5344CB8AC3E}">
        <p14:creationId xmlns:p14="http://schemas.microsoft.com/office/powerpoint/2010/main" val="5125729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A business process flow is a visual guide that is meant to help users complete a business process by using a set of predefined stages. Users are not limited on how long they run a business process or how long they have a stage open. All data that is associated with the business process flow can only be stored in one or more entities in Common Data Service, and you cannot associate a business process flow with another data source behind it.</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A Power Automate flow does not have any visual components like a business process flow. Power Automate flows can be configured to work with many different data sources and a flow can connect to many different data sources within the same flow. A flow can be configured to time out if it is not completed in a certain time and can be triggered to move between steps based on data or user interaction. Flows support complex logic and looping and a Power Automate flow can call another Power Automate flow as needed.</a:t>
            </a: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4</a:t>
            </a:fld>
            <a:endParaRPr lang="en-US" dirty="0"/>
          </a:p>
        </p:txBody>
      </p:sp>
    </p:spTree>
    <p:extLst>
      <p:ext uri="{BB962C8B-B14F-4D97-AF65-F5344CB8AC3E}">
        <p14:creationId xmlns:p14="http://schemas.microsoft.com/office/powerpoint/2010/main" val="3200552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oop in SharePoint Designer Workflow : </a:t>
            </a:r>
          </a:p>
          <a:p>
            <a:r>
              <a:rPr lang="en-US" dirty="0"/>
              <a:t>One of the major limitations in SharePoint Designer-based workflows in SharePoint 2010 was the inability to loop in workflows. 2013 workflows in SharePoint Designer can now include looping. There are two types of looping available: Loop n Times and Loop with Condition.</a:t>
            </a:r>
          </a:p>
          <a:p>
            <a:endParaRPr lang="en-US" dirty="0"/>
          </a:p>
          <a:p>
            <a:r>
              <a:rPr lang="en-US" dirty="0"/>
              <a:t>The Loop n Times loop type allows a designer to create a looping condition where the actions contained in the loop container are executed several times. One or more workflow actions can be placed in the loop and the workflow will execute these actions (in order) for the number of loop iterations specified.</a:t>
            </a:r>
          </a:p>
          <a:p>
            <a:endParaRPr lang="en-US" dirty="0"/>
          </a:p>
          <a:p>
            <a:r>
              <a:rPr lang="en-US" dirty="0"/>
              <a:t>The Loop with Condition loop type allows a designer to create a looping condition where the actions contained in the loop container are executed until a specified condition is met. Just like the Loop n Times loop type, the workflow actions placed in the loop will execute in order, and the loop will continue to execute these actions until the loop condition is met.</a:t>
            </a:r>
          </a:p>
          <a:p>
            <a:endParaRPr lang="en-US" dirty="0"/>
          </a:p>
          <a:p>
            <a:r>
              <a:rPr lang="en-US" dirty="0"/>
              <a:t>Restrictions in SPD Workflow Looping construct:</a:t>
            </a:r>
          </a:p>
          <a:p>
            <a:pPr algn="l">
              <a:buFont typeface="Arial" panose="020B0604020202020204" pitchFamily="34" charset="0"/>
              <a:buChar char="•"/>
            </a:pPr>
            <a:r>
              <a:rPr lang="en-US" b="0" i="0" dirty="0">
                <a:effectLst/>
                <a:latin typeface="proxima-nova"/>
              </a:rPr>
              <a:t>Loops must be contained within a stage</a:t>
            </a:r>
          </a:p>
          <a:p>
            <a:pPr algn="l">
              <a:buFont typeface="Arial" panose="020B0604020202020204" pitchFamily="34" charset="0"/>
              <a:buChar char="•"/>
            </a:pPr>
            <a:r>
              <a:rPr lang="en-US" b="0" i="0" dirty="0">
                <a:effectLst/>
                <a:latin typeface="proxima-nova"/>
              </a:rPr>
              <a:t>You cannot add a stage inside a loop</a:t>
            </a:r>
          </a:p>
          <a:p>
            <a:pPr algn="l">
              <a:buFont typeface="Arial" panose="020B0604020202020204" pitchFamily="34" charset="0"/>
              <a:buChar char="•"/>
            </a:pPr>
            <a:r>
              <a:rPr lang="en-US" b="0" i="0" dirty="0">
                <a:effectLst/>
                <a:latin typeface="proxima-nova"/>
              </a:rPr>
              <a:t>Loops can only have one entry and one exit point</a:t>
            </a:r>
          </a:p>
          <a:p>
            <a:pPr algn="l"/>
            <a:r>
              <a:rPr lang="en-US" b="0" i="0" dirty="0">
                <a:effectLst/>
                <a:latin typeface="proxima-nova"/>
              </a:rPr>
              <a:t>Nested loops are also supported if the need for executing a series of actions in an inner loop is desired.</a:t>
            </a:r>
          </a:p>
          <a:p>
            <a:pPr algn="l"/>
            <a:endParaRPr lang="en-US" b="0" i="0" dirty="0">
              <a:effectLst/>
              <a:latin typeface="proxima-nova"/>
            </a:endParaRPr>
          </a:p>
          <a:p>
            <a:pPr algn="l"/>
            <a:r>
              <a:rPr lang="en-US" b="1" i="0" dirty="0">
                <a:effectLst/>
                <a:latin typeface="proxima-nova"/>
              </a:rPr>
              <a:t>Power Automate Loop:</a:t>
            </a:r>
          </a:p>
          <a:p>
            <a:pPr algn="l"/>
            <a:r>
              <a:rPr lang="en-US" b="0" i="0" dirty="0">
                <a:solidFill>
                  <a:srgbClr val="505050"/>
                </a:solidFill>
                <a:effectLst/>
                <a:latin typeface="Segoe UI Condensed"/>
              </a:rPr>
              <a:t>Frequently, you will get a list of items returned by an action. For example, you could get a list of email attachments for new emails, or a list of search results from a search API. An apply to each loop makes it possible to control the list that you repeat over. You can also use a condition inside of an apply to each to filter the array. To add new control flow concepts like </a:t>
            </a:r>
            <a:r>
              <a:rPr lang="en-US" b="1" i="0" dirty="0">
                <a:solidFill>
                  <a:srgbClr val="505050"/>
                </a:solidFill>
                <a:effectLst/>
                <a:latin typeface="Segoe UI Condensed"/>
              </a:rPr>
              <a:t>Apply to each</a:t>
            </a:r>
            <a:r>
              <a:rPr lang="en-US" b="0" i="0" dirty="0">
                <a:solidFill>
                  <a:srgbClr val="505050"/>
                </a:solidFill>
                <a:effectLst/>
                <a:latin typeface="Segoe UI Condensed"/>
              </a:rPr>
              <a:t> or </a:t>
            </a:r>
            <a:r>
              <a:rPr lang="en-US" b="1" i="0" dirty="0">
                <a:solidFill>
                  <a:srgbClr val="505050"/>
                </a:solidFill>
                <a:effectLst/>
                <a:latin typeface="Segoe UI Condensed"/>
              </a:rPr>
              <a:t>Do-until</a:t>
            </a:r>
            <a:r>
              <a:rPr lang="en-US" b="0" i="0" dirty="0">
                <a:solidFill>
                  <a:srgbClr val="505050"/>
                </a:solidFill>
                <a:effectLst/>
                <a:latin typeface="Segoe UI Condensed"/>
              </a:rPr>
              <a:t>, first click </a:t>
            </a:r>
            <a:r>
              <a:rPr lang="en-US" b="1" i="0" dirty="0">
                <a:solidFill>
                  <a:srgbClr val="505050"/>
                </a:solidFill>
                <a:effectLst/>
                <a:latin typeface="Segoe UI Condensed"/>
              </a:rPr>
              <a:t>New Step</a:t>
            </a:r>
            <a:r>
              <a:rPr lang="en-US" b="0" i="0" dirty="0">
                <a:solidFill>
                  <a:srgbClr val="505050"/>
                </a:solidFill>
                <a:effectLst/>
                <a:latin typeface="Segoe UI Condensed"/>
              </a:rPr>
              <a:t> and then select </a:t>
            </a:r>
            <a:r>
              <a:rPr lang="en-US" b="1" i="0" dirty="0">
                <a:solidFill>
                  <a:srgbClr val="505050"/>
                </a:solidFill>
                <a:effectLst/>
                <a:latin typeface="Segoe UI Condensed"/>
              </a:rPr>
              <a:t>More</a:t>
            </a:r>
            <a:r>
              <a:rPr lang="en-US" b="0" i="0" dirty="0">
                <a:solidFill>
                  <a:srgbClr val="505050"/>
                </a:solidFill>
                <a:effectLst/>
                <a:latin typeface="Segoe UI Condensed"/>
              </a:rPr>
              <a:t>.</a:t>
            </a:r>
          </a:p>
          <a:p>
            <a:br>
              <a:rPr lang="en-US" dirty="0"/>
            </a:br>
            <a:r>
              <a:rPr lang="en-US" b="0" i="0" dirty="0">
                <a:solidFill>
                  <a:srgbClr val="505050"/>
                </a:solidFill>
                <a:effectLst/>
                <a:latin typeface="Segoe UI Condensed"/>
              </a:rPr>
              <a:t>This will add a shape to the designer that you can choose an array in.</a:t>
            </a:r>
          </a:p>
          <a:p>
            <a:pPr algn="l"/>
            <a:r>
              <a:rPr lang="en-US" b="0" i="0" dirty="0">
                <a:solidFill>
                  <a:srgbClr val="505050"/>
                </a:solidFill>
                <a:effectLst/>
                <a:latin typeface="Segoe UI Condensed"/>
              </a:rPr>
              <a:t>A</a:t>
            </a:r>
            <a:r>
              <a:rPr lang="en-US" b="1" i="0" dirty="0">
                <a:solidFill>
                  <a:srgbClr val="505050"/>
                </a:solidFill>
                <a:effectLst/>
                <a:latin typeface="Segoe UI Condensed"/>
              </a:rPr>
              <a:t> do-until </a:t>
            </a:r>
            <a:r>
              <a:rPr lang="en-US" b="0" i="0" dirty="0">
                <a:solidFill>
                  <a:srgbClr val="505050"/>
                </a:solidFill>
                <a:effectLst/>
                <a:latin typeface="Segoe UI Condensed"/>
              </a:rPr>
              <a:t>loop allows you to repeat a step until a certain condition is met. The most common reason to use this is in approval scenarios. For example, you can create a new record in a database, wait until a certain field in that record is “Approved”, and then continue the flow.</a:t>
            </a:r>
          </a:p>
          <a:p>
            <a:pPr algn="l"/>
            <a:endParaRPr lang="en-US" b="1" i="0" dirty="0">
              <a:effectLst/>
              <a:latin typeface="proxima-nova"/>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5</a:t>
            </a:fld>
            <a:endParaRPr lang="en-US" dirty="0"/>
          </a:p>
        </p:txBody>
      </p:sp>
    </p:spTree>
    <p:extLst>
      <p:ext uri="{BB962C8B-B14F-4D97-AF65-F5344CB8AC3E}">
        <p14:creationId xmlns:p14="http://schemas.microsoft.com/office/powerpoint/2010/main" val="5125729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6</a:t>
            </a:fld>
            <a:endParaRPr lang="en-US" dirty="0"/>
          </a:p>
        </p:txBody>
      </p:sp>
    </p:spTree>
    <p:extLst>
      <p:ext uri="{BB962C8B-B14F-4D97-AF65-F5344CB8AC3E}">
        <p14:creationId xmlns:p14="http://schemas.microsoft.com/office/powerpoint/2010/main" val="5125729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i="0" dirty="0">
                <a:solidFill>
                  <a:srgbClr val="767676"/>
                </a:solidFill>
                <a:effectLst/>
                <a:latin typeface="SegoeUI"/>
              </a:rPr>
              <a:t>Expressions are a rich set of Excel-like formulas that allow you to manipulate data.  </a:t>
            </a:r>
          </a:p>
          <a:p>
            <a:pPr marL="171450" indent="-171450" algn="l">
              <a:buFont typeface="Arial" panose="020B0604020202020204" pitchFamily="34" charset="0"/>
              <a:buChar char="•"/>
            </a:pPr>
            <a:r>
              <a:rPr lang="en-US" b="0" i="0" dirty="0">
                <a:solidFill>
                  <a:srgbClr val="767676"/>
                </a:solidFill>
                <a:effectLst/>
                <a:latin typeface="SegoeUI"/>
              </a:rPr>
              <a:t>With Designer workflows, we had to a limited set of string manipulation actions and several calculation actions.  If you were ever frustrated by what you couldn't do with strings in Designer workflows, Flow Expressions will make you smile.  </a:t>
            </a:r>
          </a:p>
          <a:p>
            <a:pPr marL="171450" indent="-171450" algn="l">
              <a:buFont typeface="Arial" panose="020B0604020202020204" pitchFamily="34" charset="0"/>
              <a:buChar char="•"/>
            </a:pPr>
            <a:r>
              <a:rPr lang="en-US" b="0" i="0" dirty="0">
                <a:solidFill>
                  <a:srgbClr val="767676"/>
                </a:solidFill>
                <a:effectLst/>
                <a:latin typeface="SegoeUI"/>
              </a:rPr>
              <a:t>In additional to string functions, additional function groups include date, math and conversion.  Once again, this type of functionality would have been very welcome in Designer workflows.</a:t>
            </a: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7</a:t>
            </a:fld>
            <a:endParaRPr lang="en-US" dirty="0"/>
          </a:p>
        </p:txBody>
      </p:sp>
    </p:spTree>
    <p:extLst>
      <p:ext uri="{BB962C8B-B14F-4D97-AF65-F5344CB8AC3E}">
        <p14:creationId xmlns:p14="http://schemas.microsoft.com/office/powerpoint/2010/main" val="5125729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sng" strike="noStrike" kern="1200" cap="none" spc="0" normalizeH="0" baseline="0" noProof="0" dirty="0">
                <a:ln>
                  <a:noFill/>
                </a:ln>
                <a:solidFill>
                  <a:prstClr val="black"/>
                </a:solidFill>
                <a:effectLst/>
                <a:uLnTx/>
                <a:uFillTx/>
                <a:latin typeface="Calibri" panose="020F0502020204030204"/>
                <a:ea typeface="+mn-ea"/>
                <a:cs typeface="+mn-cs"/>
              </a:rPr>
              <a:t>SharePoint Workflow</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he Workflow Status page provides the following information and options:</a:t>
            </a:r>
          </a:p>
          <a:p>
            <a:endParaRPr lang="en-US" dirty="0"/>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Name of the person who started the workflow.</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Date and time the workflow start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Date and time the workflow was last ru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Name and link to the document or</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item involved in the workflow.</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Current status of the workflow.</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The option to terminate the workflow. </a:t>
            </a: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8</a:t>
            </a:fld>
            <a:endParaRPr lang="en-US" dirty="0"/>
          </a:p>
        </p:txBody>
      </p:sp>
    </p:spTree>
    <p:extLst>
      <p:ext uri="{BB962C8B-B14F-4D97-AF65-F5344CB8AC3E}">
        <p14:creationId xmlns:p14="http://schemas.microsoft.com/office/powerpoint/2010/main" val="4487065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9</a:t>
            </a:fld>
            <a:endParaRPr lang="en-US" dirty="0"/>
          </a:p>
        </p:txBody>
      </p:sp>
    </p:spTree>
    <p:extLst>
      <p:ext uri="{BB962C8B-B14F-4D97-AF65-F5344CB8AC3E}">
        <p14:creationId xmlns:p14="http://schemas.microsoft.com/office/powerpoint/2010/main" val="15761007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6708880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Pain points in moving between classic workflows in SharePoint and Power Automate flows</a:t>
            </a:r>
          </a:p>
          <a:p>
            <a:pPr algn="l"/>
            <a:r>
              <a:rPr lang="en-US" b="0" i="0" dirty="0">
                <a:solidFill>
                  <a:srgbClr val="171717"/>
                </a:solidFill>
                <a:effectLst/>
                <a:latin typeface="Segoe UI" panose="020B0502040204020203" pitchFamily="34" charset="0"/>
              </a:rPr>
              <a:t>Many people feel there are significant gaps between SharePoint Designer (classic) workflows and Power Automate flows, but the list is not long. Of course, there are some workarounds you should consider in your planning as you move from classic workflows to Power Automate flows.</a:t>
            </a:r>
          </a:p>
          <a:p>
            <a:pPr algn="l">
              <a:buFont typeface="Arial" panose="020B0604020202020204" pitchFamily="34" charset="0"/>
              <a:buChar char="•"/>
            </a:pPr>
            <a:r>
              <a:rPr lang="en-US" b="1" i="0" dirty="0">
                <a:solidFill>
                  <a:srgbClr val="171717"/>
                </a:solidFill>
                <a:effectLst/>
                <a:latin typeface="Segoe UI" panose="020B0502040204020203" pitchFamily="34" charset="0"/>
              </a:rPr>
              <a:t>30 day run limit for flows</a:t>
            </a:r>
            <a:r>
              <a:rPr lang="en-US" b="0" i="0" dirty="0">
                <a:solidFill>
                  <a:srgbClr val="171717"/>
                </a:solidFill>
                <a:effectLst/>
                <a:latin typeface="Segoe UI" panose="020B0502040204020203" pitchFamily="34" charset="0"/>
              </a:rPr>
              <a:t> – SharePoint Designer workflows can run endlessly, but flows have a 30 day lifespan. Getting beyond this limitation means your flow will need to call itself in a re-entrant way to restart the clock ticking.</a:t>
            </a:r>
          </a:p>
          <a:p>
            <a:pPr algn="l">
              <a:buFont typeface="Arial" panose="020B0604020202020204" pitchFamily="34" charset="0"/>
              <a:buChar char="•"/>
            </a:pPr>
            <a:r>
              <a:rPr lang="en-US" b="1" i="0" dirty="0">
                <a:solidFill>
                  <a:srgbClr val="171717"/>
                </a:solidFill>
                <a:effectLst/>
                <a:latin typeface="Segoe UI" panose="020B0502040204020203" pitchFamily="34" charset="0"/>
              </a:rPr>
              <a:t>HTTP Connector</a:t>
            </a:r>
            <a:r>
              <a:rPr lang="en-US" b="0" i="0" dirty="0">
                <a:solidFill>
                  <a:srgbClr val="171717"/>
                </a:solidFill>
                <a:effectLst/>
                <a:latin typeface="Segoe UI" panose="020B0502040204020203" pitchFamily="34" charset="0"/>
              </a:rPr>
              <a:t> – If you make calls to SharePoint's REST API, then you can use the </a:t>
            </a:r>
            <a:r>
              <a:rPr lang="en-US" b="0" i="0" u="none" strike="noStrike" dirty="0">
                <a:solidFill>
                  <a:srgbClr val="171717"/>
                </a:solidFill>
                <a:effectLst/>
                <a:latin typeface="Segoe UI" panose="020B0502040204020203" pitchFamily="34" charset="0"/>
                <a:hlinkClick r:id="rId3"/>
              </a:rPr>
              <a:t>'Send HTTP Request to SharePoint'</a:t>
            </a:r>
            <a:r>
              <a:rPr lang="en-US" b="0" i="0" dirty="0">
                <a:solidFill>
                  <a:srgbClr val="171717"/>
                </a:solidFill>
                <a:effectLst/>
                <a:latin typeface="Segoe UI" panose="020B0502040204020203" pitchFamily="34" charset="0"/>
              </a:rPr>
              <a:t> action available in the SharePoint connector. Flow also has a generic HTTP connector (as an action), but it is a Premium connector. If you use HTTP calls extensively, you may want to create a “service account” user with a Power Automate license and run these flows with that user account. This also will make it easier to manage the set of flows you consider "enterprise" flows.</a:t>
            </a:r>
          </a:p>
          <a:p>
            <a:pPr algn="l">
              <a:buFont typeface="Arial" panose="020B0604020202020204" pitchFamily="34" charset="0"/>
              <a:buChar char="•"/>
            </a:pPr>
            <a:r>
              <a:rPr lang="en-US" b="1" i="0" dirty="0">
                <a:solidFill>
                  <a:srgbClr val="171717"/>
                </a:solidFill>
                <a:effectLst/>
                <a:latin typeface="Segoe UI" panose="020B0502040204020203" pitchFamily="34" charset="0"/>
              </a:rPr>
              <a:t>Reusable Flows</a:t>
            </a:r>
            <a:r>
              <a:rPr lang="en-US" b="0" i="0" dirty="0">
                <a:solidFill>
                  <a:srgbClr val="171717"/>
                </a:solidFill>
                <a:effectLst/>
                <a:latin typeface="Segoe UI" panose="020B0502040204020203" pitchFamily="34" charset="0"/>
              </a:rPr>
              <a:t> – Using some modular thinking, you can create a master flow which a flow per list or library can call to do the heavy lifting. (In some ways this is even preferable, as you can edit a flow which is used in many locations centrally.) Alternatively, you can use flow actions to discover all of the lists or libraries which match some criteria and run the flow on them all on a timer rather than based on events.</a:t>
            </a:r>
          </a:p>
          <a:p>
            <a:pPr algn="l">
              <a:buFont typeface="Arial" panose="020B0604020202020204" pitchFamily="34" charset="0"/>
              <a:buChar char="•"/>
            </a:pPr>
            <a:r>
              <a:rPr lang="en-US" b="1" i="0" dirty="0">
                <a:solidFill>
                  <a:srgbClr val="171717"/>
                </a:solidFill>
                <a:effectLst/>
                <a:latin typeface="Segoe UI" panose="020B0502040204020203" pitchFamily="34" charset="0"/>
              </a:rPr>
              <a:t>Workflow history storage</a:t>
            </a:r>
            <a:r>
              <a:rPr lang="en-US" b="0" i="0" dirty="0">
                <a:solidFill>
                  <a:srgbClr val="171717"/>
                </a:solidFill>
                <a:effectLst/>
                <a:latin typeface="Segoe UI" panose="020B0502040204020203" pitchFamily="34" charset="0"/>
              </a:rPr>
              <a:t> – Flows maintain a history in the context of the flow itself in the Power Automate dashboard. If you need tracking in your sites, you can have the flow log information in a list you create.</a:t>
            </a:r>
          </a:p>
          <a:p>
            <a:pPr algn="l">
              <a:buFont typeface="Arial" panose="020B0604020202020204" pitchFamily="34" charset="0"/>
              <a:buChar char="•"/>
            </a:pPr>
            <a:r>
              <a:rPr lang="en-US" b="1" i="0" dirty="0">
                <a:solidFill>
                  <a:srgbClr val="171717"/>
                </a:solidFill>
                <a:effectLst/>
                <a:latin typeface="Segoe UI" panose="020B0502040204020203" pitchFamily="34" charset="0"/>
              </a:rPr>
              <a:t>Impersonation</a:t>
            </a:r>
            <a:r>
              <a:rPr lang="en-US" b="0" i="0" dirty="0">
                <a:solidFill>
                  <a:srgbClr val="171717"/>
                </a:solidFill>
                <a:effectLst/>
                <a:latin typeface="Segoe UI" panose="020B0502040204020203" pitchFamily="34" charset="0"/>
              </a:rPr>
              <a:t> - In SharePoint 2010 workflows, you can add an impersonation step to act as a different user. This capability is not readily available in flows.</a:t>
            </a:r>
          </a:p>
          <a:p>
            <a:pPr algn="l"/>
            <a:r>
              <a:rPr lang="en-US" b="0" i="0" dirty="0">
                <a:solidFill>
                  <a:srgbClr val="171717"/>
                </a:solidFill>
                <a:effectLst/>
                <a:latin typeface="Segoe UI" panose="020B0502040204020203" pitchFamily="34" charset="0"/>
              </a:rPr>
              <a:t>While these pain points do exist, you can see there are workarounds for each of them.</a:t>
            </a: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51</a:t>
            </a:fld>
            <a:endParaRPr lang="en-US" dirty="0"/>
          </a:p>
        </p:txBody>
      </p:sp>
    </p:spTree>
    <p:extLst>
      <p:ext uri="{BB962C8B-B14F-4D97-AF65-F5344CB8AC3E}">
        <p14:creationId xmlns:p14="http://schemas.microsoft.com/office/powerpoint/2010/main" val="1067615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t>In the context of SharePoint, a workflow is the automated movement of documents or items through a sequence of actions or tasks that are related to a business process. Workflows can be used to consistently manage common business processes within an organization by enabling the organization to attach business logic to documents or items in a SharePoint list or library.</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SharePoint workflows are pre-programmed mini-applications that streamline and automate a wide variety of business processes. </a:t>
            </a:r>
          </a:p>
          <a:p>
            <a:pPr marL="171450" indent="-171450">
              <a:buFont typeface="Arial" panose="020B0604020202020204" pitchFamily="34" charset="0"/>
              <a:buChar char="•"/>
            </a:pPr>
            <a:r>
              <a:rPr lang="en-US" sz="1200" dirty="0"/>
              <a:t>Workflows can range from collecting signatures, feedback, or approvals for a plan or document, to tracking the current status of a routine procedure. </a:t>
            </a:r>
          </a:p>
          <a:p>
            <a:pPr marL="171450" indent="-171450">
              <a:buFont typeface="Arial" panose="020B0604020202020204" pitchFamily="34" charset="0"/>
              <a:buChar char="•"/>
            </a:pPr>
            <a:r>
              <a:rPr lang="en-US" sz="1200" dirty="0">
                <a:highlight>
                  <a:srgbClr val="FFFF00"/>
                </a:highlight>
              </a:rPr>
              <a:t>SharePoint workflows are designed to save you time and effort, and to bring consistency and efficiency to tasks that you perform on a regular basis.</a:t>
            </a:r>
            <a:endParaRPr lang="en-US" dirty="0">
              <a:highlight>
                <a:srgbClr val="FFFF00"/>
              </a:highlight>
            </a:endParaRP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5</a:t>
            </a:fld>
            <a:endParaRPr lang="en-US" dirty="0"/>
          </a:p>
        </p:txBody>
      </p:sp>
    </p:spTree>
    <p:extLst>
      <p:ext uri="{BB962C8B-B14F-4D97-AF65-F5344CB8AC3E}">
        <p14:creationId xmlns:p14="http://schemas.microsoft.com/office/powerpoint/2010/main" val="32666766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Pain points in moving between classic workflows in SharePoint and Power Automate flows</a:t>
            </a:r>
          </a:p>
          <a:p>
            <a:pPr algn="l"/>
            <a:r>
              <a:rPr lang="en-US" b="0" i="0" dirty="0">
                <a:solidFill>
                  <a:srgbClr val="171717"/>
                </a:solidFill>
                <a:effectLst/>
                <a:latin typeface="Segoe UI" panose="020B0502040204020203" pitchFamily="34" charset="0"/>
              </a:rPr>
              <a:t>Many people feel there are significant gaps between SharePoint Designer (classic) workflows and Power Automate flows, but the list is not long. Of course, there are some workarounds you should consider in your planning as you move from classic workflows to Power Automate flows.</a:t>
            </a:r>
          </a:p>
          <a:p>
            <a:pPr algn="l">
              <a:buFont typeface="Arial" panose="020B0604020202020204" pitchFamily="34" charset="0"/>
              <a:buChar char="•"/>
            </a:pPr>
            <a:endParaRPr lang="en-US" b="1" i="0" dirty="0">
              <a:solidFill>
                <a:srgbClr val="171717"/>
              </a:solidFill>
              <a:effectLst/>
              <a:latin typeface="Segoe UI" panose="020B0502040204020203" pitchFamily="34" charset="0"/>
            </a:endParaRPr>
          </a:p>
          <a:p>
            <a:pPr algn="l">
              <a:buFont typeface="Arial" panose="020B0604020202020204" pitchFamily="34" charset="0"/>
              <a:buChar char="•"/>
            </a:pPr>
            <a:r>
              <a:rPr lang="en-US" b="1" i="0" dirty="0">
                <a:solidFill>
                  <a:srgbClr val="171717"/>
                </a:solidFill>
                <a:effectLst/>
                <a:latin typeface="Segoe UI" panose="020B0502040204020203" pitchFamily="34" charset="0"/>
              </a:rPr>
              <a:t>Reusable Flows</a:t>
            </a:r>
            <a:r>
              <a:rPr lang="en-US" b="0" i="0" dirty="0">
                <a:solidFill>
                  <a:srgbClr val="171717"/>
                </a:solidFill>
                <a:effectLst/>
                <a:latin typeface="Segoe UI" panose="020B0502040204020203" pitchFamily="34" charset="0"/>
              </a:rPr>
              <a:t> – Using some modular thinking, you can create a master flow which a flow per list or library can call to do the heavy lifting. (In some ways this is even preferable, as you can edit a flow which is used in many locations centrally.) Alternatively, you can use flow actions to discover all of the lists or libraries which match some criteria and run the flow on them all on a timer rather than based on events.</a:t>
            </a:r>
          </a:p>
          <a:p>
            <a:pPr algn="l">
              <a:buFont typeface="Arial" panose="020B0604020202020204" pitchFamily="34" charset="0"/>
              <a:buChar char="•"/>
            </a:pPr>
            <a:r>
              <a:rPr lang="en-US" b="1" i="0" dirty="0">
                <a:solidFill>
                  <a:srgbClr val="171717"/>
                </a:solidFill>
                <a:effectLst/>
                <a:latin typeface="Segoe UI" panose="020B0502040204020203" pitchFamily="34" charset="0"/>
              </a:rPr>
              <a:t>Workflow history storage</a:t>
            </a:r>
            <a:r>
              <a:rPr lang="en-US" b="0" i="0" dirty="0">
                <a:solidFill>
                  <a:srgbClr val="171717"/>
                </a:solidFill>
                <a:effectLst/>
                <a:latin typeface="Segoe UI" panose="020B0502040204020203" pitchFamily="34" charset="0"/>
              </a:rPr>
              <a:t> – Flows maintain a history in the context of the flow itself in the Power Automate dashboard. If you need tracking in your sites, you can have the flow log information in a list you create.</a:t>
            </a:r>
          </a:p>
          <a:p>
            <a:pPr algn="l">
              <a:buFont typeface="Arial" panose="020B0604020202020204" pitchFamily="34" charset="0"/>
              <a:buChar char="•"/>
            </a:pPr>
            <a:r>
              <a:rPr lang="en-US" b="1" i="0" dirty="0">
                <a:solidFill>
                  <a:srgbClr val="171717"/>
                </a:solidFill>
                <a:effectLst/>
                <a:latin typeface="Segoe UI" panose="020B0502040204020203" pitchFamily="34" charset="0"/>
              </a:rPr>
              <a:t>Impersonation</a:t>
            </a:r>
            <a:r>
              <a:rPr lang="en-US" b="0" i="0" dirty="0">
                <a:solidFill>
                  <a:srgbClr val="171717"/>
                </a:solidFill>
                <a:effectLst/>
                <a:latin typeface="Segoe UI" panose="020B0502040204020203" pitchFamily="34" charset="0"/>
              </a:rPr>
              <a:t> - In SharePoint 2010 workflows, you can add an impersonation step to act as a different user. This capability is not readily available in flows.</a:t>
            </a:r>
          </a:p>
          <a:p>
            <a:pPr algn="l"/>
            <a:r>
              <a:rPr lang="en-US" b="0" i="0" dirty="0">
                <a:solidFill>
                  <a:srgbClr val="171717"/>
                </a:solidFill>
                <a:effectLst/>
                <a:latin typeface="Segoe UI" panose="020B0502040204020203" pitchFamily="34" charset="0"/>
              </a:rPr>
              <a:t>While these pain points do exist, you can see there are workarounds for each of them.</a:t>
            </a: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52</a:t>
            </a:fld>
            <a:endParaRPr lang="en-US" dirty="0"/>
          </a:p>
        </p:txBody>
      </p:sp>
    </p:spTree>
    <p:extLst>
      <p:ext uri="{BB962C8B-B14F-4D97-AF65-F5344CB8AC3E}">
        <p14:creationId xmlns:p14="http://schemas.microsoft.com/office/powerpoint/2010/main" val="20641774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6496913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0283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9391">
              <a:lnSpc>
                <a:spcPct val="100000"/>
              </a:lnSpc>
              <a:spcBef>
                <a:spcPts val="832"/>
              </a:spcBef>
              <a:spcAft>
                <a:spcPts val="0"/>
              </a:spcAft>
              <a:buSzPct val="90000"/>
              <a:defRPr/>
            </a:pPr>
            <a:endParaRPr lang="en-US" sz="1800" dirty="0">
              <a:solidFill>
                <a:srgbClr val="3C3C41"/>
              </a:solidFill>
              <a:latin typeface="Segoe UI"/>
            </a:endParaRPr>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22328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CBA210A-8932-455C-9B57-3E9A77382E3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2140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40</a:t>
            </a:fld>
            <a:endParaRPr lang="en-US" dirty="0"/>
          </a:p>
        </p:txBody>
      </p:sp>
    </p:spTree>
    <p:extLst>
      <p:ext uri="{BB962C8B-B14F-4D97-AF65-F5344CB8AC3E}">
        <p14:creationId xmlns:p14="http://schemas.microsoft.com/office/powerpoint/2010/main" val="53470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evolution of SharePoint workflow</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Back in SharePoint 2010, workflows were intended primarily for approval pipelines. Enterprises could use SharePoint Designer and workflow editor to customize their workflows. The workflow process happened within SharePoint itself.</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ith </a:t>
            </a:r>
            <a:r>
              <a:rPr kumimoji="0" lang="en-US" sz="2400" b="0" i="0" u="sng" strike="noStrike" kern="1200" cap="none" spc="0" normalizeH="0" baseline="0" noProof="0" dirty="0">
                <a:ln>
                  <a:noFill/>
                </a:ln>
                <a:solidFill>
                  <a:prstClr val="black"/>
                </a:solidFill>
                <a:effectLst/>
                <a:uLnTx/>
                <a:uFillTx/>
                <a:latin typeface="Calibri" panose="020F0502020204030204"/>
                <a:ea typeface="+mn-ea"/>
                <a:cs typeface="+mn-cs"/>
              </a:rPr>
              <a:t>Workflow Manager</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Workflows are hosted outside of SharePoint.  Windows Azure Workflow (WAW) is an installable product and can be hosted on an on-premise SharePoint farm. Workflow is now run as a separate service. Communication of workflows with SharePoint will happen via REST / CSOM or OAuth.</a:t>
            </a:r>
          </a:p>
          <a:p>
            <a:endParaRPr lang="en-US" dirty="0"/>
          </a:p>
          <a:p>
            <a:r>
              <a:rPr lang="en-US" dirty="0"/>
              <a:t>SharePoint 2010 Workflow</a:t>
            </a:r>
          </a:p>
          <a:p>
            <a:pPr marL="342900" lvl="0" indent="-342900">
              <a:buFont typeface="Arial" panose="020B0604020202020204" pitchFamily="34" charset="0"/>
              <a:buChar char="•"/>
            </a:pPr>
            <a:r>
              <a:rPr lang="en-US" sz="2000" dirty="0"/>
              <a:t>SharePoint Server 2010</a:t>
            </a:r>
          </a:p>
          <a:p>
            <a:pPr marL="342900" lvl="0" indent="-342900">
              <a:buFont typeface="Arial" panose="020B0604020202020204" pitchFamily="34" charset="0"/>
              <a:buChar char="•"/>
            </a:pPr>
            <a:r>
              <a:rPr lang="en-US" sz="2000" dirty="0"/>
              <a:t>Carried forward to Office 365 and SharePoint Server 2013</a:t>
            </a:r>
          </a:p>
          <a:p>
            <a:pPr marL="342900" lvl="0" indent="-342900">
              <a:buFont typeface="Arial" panose="020B0604020202020204" pitchFamily="34" charset="0"/>
              <a:buChar char="•"/>
            </a:pPr>
            <a:r>
              <a:rPr lang="en-US" sz="2000" dirty="0"/>
              <a:t>Built on top of WF 3.5</a:t>
            </a:r>
          </a:p>
          <a:p>
            <a:pPr marL="342900" lvl="0" indent="-342900">
              <a:buFont typeface="Arial" panose="020B0604020202020204" pitchFamily="34" charset="0"/>
              <a:buChar char="•"/>
            </a:pPr>
            <a:r>
              <a:rPr lang="en-US" sz="2000" dirty="0"/>
              <a:t>Uses SharePoint as execution host	</a:t>
            </a:r>
          </a:p>
          <a:p>
            <a:pPr marL="342900" lvl="0" indent="-342900">
              <a:buFont typeface="Arial" panose="020B0604020202020204" pitchFamily="34" charset="0"/>
              <a:buChar char="•"/>
            </a:pPr>
            <a:r>
              <a:rPr lang="en-US" sz="2000" dirty="0"/>
              <a:t>Workflow engine lives in SharePoint</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harePoint 2013 Workflows</a:t>
            </a:r>
          </a:p>
          <a:p>
            <a:pPr marL="342900" lvl="0" indent="-342900">
              <a:buFont typeface="Arial" panose="020B0604020202020204" pitchFamily="34" charset="0"/>
              <a:buChar char="•"/>
            </a:pPr>
            <a:r>
              <a:rPr lang="en-US" sz="2000" dirty="0"/>
              <a:t>SharePoint Server 2013</a:t>
            </a:r>
          </a:p>
          <a:p>
            <a:pPr marL="342900" lvl="0" indent="-342900">
              <a:buFont typeface="Arial" panose="020B0604020202020204" pitchFamily="34" charset="0"/>
              <a:buChar char="•"/>
            </a:pPr>
            <a:r>
              <a:rPr lang="en-US" sz="2000" dirty="0"/>
              <a:t>Carried forward to Office 365</a:t>
            </a:r>
          </a:p>
          <a:p>
            <a:pPr marL="342900" lvl="0" indent="-342900">
              <a:buFont typeface="Arial" panose="020B0604020202020204" pitchFamily="34" charset="0"/>
              <a:buChar char="•"/>
            </a:pPr>
            <a:r>
              <a:rPr lang="en-US" sz="2000" dirty="0"/>
              <a:t>Built on top of WF 4</a:t>
            </a:r>
          </a:p>
          <a:p>
            <a:pPr marL="342900" lvl="0" indent="-342900">
              <a:buFont typeface="Arial" panose="020B0604020202020204" pitchFamily="34" charset="0"/>
              <a:buChar char="•"/>
            </a:pPr>
            <a:r>
              <a:rPr lang="en-US" sz="2000" dirty="0"/>
              <a:t>Workflow engine lives outside of Office 365</a:t>
            </a:r>
          </a:p>
          <a:p>
            <a:pPr marL="342900" lvl="0" indent="-342900">
              <a:buFont typeface="Arial" panose="020B0604020202020204" pitchFamily="34" charset="0"/>
              <a:buChar char="•"/>
            </a:pPr>
            <a:r>
              <a:rPr lang="en-US" sz="2000" dirty="0"/>
              <a:t>For on-premises, Workflow Manager can be installed on SharePoint server</a:t>
            </a:r>
          </a:p>
          <a:p>
            <a:endParaRPr lang="en-US" dirty="0"/>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6</a:t>
            </a:fld>
            <a:endParaRPr lang="en-US" dirty="0"/>
          </a:p>
        </p:txBody>
      </p:sp>
    </p:spTree>
    <p:extLst>
      <p:ext uri="{BB962C8B-B14F-4D97-AF65-F5344CB8AC3E}">
        <p14:creationId xmlns:p14="http://schemas.microsoft.com/office/powerpoint/2010/main" val="1599065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Roboto"/>
                <a:ea typeface="+mn-ea"/>
                <a:cs typeface="+mn-cs"/>
              </a:rPr>
              <a:t>SharePoint Design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Roboto"/>
                <a:ea typeface="+mn-ea"/>
                <a:cs typeface="+mn-cs"/>
              </a:rPr>
              <a:t>Lots of workflow actions are available in SharePoint Designer but all the actions are specific to SharePoint only. You need development knowledge to communicate with various services from SharePoint designer.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Roboto"/>
                <a:ea typeface="+mn-ea"/>
                <a:cs typeface="+mn-cs"/>
              </a:rPr>
              <a:t>Among the greatest advantages of the workflow framework in SharePoint is the ease with which information workers can use the no-code environment of SharePoint Designer to create rich and powerful workflow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200" b="1" dirty="0"/>
              <a:t>Target Users: </a:t>
            </a:r>
            <a:r>
              <a:rPr lang="en-US" sz="1200" b="0" dirty="0"/>
              <a:t>Information workers, business analysts, SharePoint develope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200" b="1" dirty="0"/>
              <a:t>Difficulty level</a:t>
            </a:r>
            <a:r>
              <a:rPr lang="en-US" sz="1200" dirty="0"/>
              <a:t>: Familiarity with SharePoint Designer, including the core workflow components, such as stages, gates, actions, conditions, and loop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1200" dirty="0"/>
          </a:p>
          <a:p>
            <a:pPr marL="0" indent="0">
              <a:buNone/>
            </a:pPr>
            <a:r>
              <a:rPr lang="en-US" sz="1200" u="none" dirty="0"/>
              <a:t>Visual Studi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dditionally, a high degree of flexibility and customization is available in a declarative authoring environment such as Visual Studio.</a:t>
            </a:r>
          </a:p>
          <a:p>
            <a:pPr marL="171450" indent="-171450">
              <a:buFont typeface="Arial" panose="020B0604020202020204" pitchFamily="34" charset="0"/>
              <a:buChar char="•"/>
            </a:pPr>
            <a:r>
              <a:rPr lang="en-US" sz="1200" b="1" dirty="0"/>
              <a:t>Target users</a:t>
            </a:r>
            <a:r>
              <a:rPr lang="en-US" sz="1200" dirty="0"/>
              <a:t>: Intermediate or advanced software developers.</a:t>
            </a:r>
          </a:p>
          <a:p>
            <a:pPr marL="171450" indent="-171450">
              <a:buFont typeface="Arial" panose="020B0604020202020204" pitchFamily="34" charset="0"/>
              <a:buChar char="•"/>
            </a:pPr>
            <a:r>
              <a:rPr lang="en-US" sz="1200" b="1" dirty="0"/>
              <a:t>Difficulty level</a:t>
            </a:r>
            <a:r>
              <a:rPr lang="en-US" sz="1200" dirty="0"/>
              <a:t>: Familiarity with Visual Studio, including software development concepts such as event receivers, packaging and deployment, and securit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1200" dirty="0"/>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7</a:t>
            </a:fld>
            <a:endParaRPr lang="en-US" dirty="0"/>
          </a:p>
        </p:txBody>
      </p:sp>
    </p:spTree>
    <p:extLst>
      <p:ext uri="{BB962C8B-B14F-4D97-AF65-F5344CB8AC3E}">
        <p14:creationId xmlns:p14="http://schemas.microsoft.com/office/powerpoint/2010/main" val="14062788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SharePoint has evolv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How we do business has evolv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Business process has evolv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Modern experience in SharePoint i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designed to be compelling, flexible,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nd more performant.</a:t>
            </a:r>
            <a:b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Modern experience in SharePoint integrates with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rest of the Microsoft 365 apps &amp; services driving security,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productivity and collaboration.</a:t>
            </a:r>
            <a:b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Power Platform is preferred Microsoft 365 Business Application Platform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for building custom applications and orchestrate workflows.</a:t>
            </a:r>
          </a:p>
          <a:p>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8</a:t>
            </a:fld>
            <a:endParaRPr lang="en-US" dirty="0"/>
          </a:p>
        </p:txBody>
      </p:sp>
    </p:spTree>
    <p:extLst>
      <p:ext uri="{BB962C8B-B14F-4D97-AF65-F5344CB8AC3E}">
        <p14:creationId xmlns:p14="http://schemas.microsoft.com/office/powerpoint/2010/main" val="3987404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766707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F3F3F"/>
                </a:solidFill>
                <a:effectLst/>
                <a:uLnTx/>
                <a:uFillTx/>
                <a:latin typeface="Open Sans"/>
                <a:ea typeface="+mn-ea"/>
                <a:cs typeface="+mn-cs"/>
              </a:rPr>
              <a:t>SharePoint Designer is part of the SharePoint family, has been around since 2010. It lets you modify SharePoint sites, workflows, and webpages. </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F3F3F"/>
                </a:solidFill>
                <a:effectLst/>
                <a:uLnTx/>
                <a:uFillTx/>
                <a:latin typeface="Open Sans"/>
                <a:ea typeface="+mn-ea"/>
                <a:cs typeface="+mn-cs"/>
              </a:rPr>
              <a:t>Power Automate </a:t>
            </a:r>
            <a:r>
              <a:rPr kumimoji="0" lang="en-US" sz="1800" b="0" i="0" u="none" strike="noStrike" kern="1200" cap="none" spc="0" normalizeH="0" baseline="0" noProof="0" dirty="0">
                <a:ln>
                  <a:noFill/>
                </a:ln>
                <a:solidFill>
                  <a:srgbClr val="3F3F3F"/>
                </a:solidFill>
                <a:effectLst/>
                <a:uLnTx/>
                <a:uFillTx/>
                <a:latin typeface="Open Sans"/>
                <a:ea typeface="+mn-ea"/>
                <a:cs typeface="+mn-cs"/>
              </a:rPr>
              <a:t>is a cloud-based software that lets you automate tasks and workflows across many applications and services</a:t>
            </a:r>
            <a:endParaRPr kumimoji="0" lang="en-US" sz="1800" b="0" i="1" u="none" strike="noStrike" kern="1200" cap="none" spc="0" normalizeH="0" baseline="0" noProof="0" dirty="0">
              <a:ln>
                <a:noFill/>
              </a:ln>
              <a:solidFill>
                <a:srgbClr val="3F3F3F"/>
              </a:solidFill>
              <a:effectLst/>
              <a:uLnTx/>
              <a:uFillTx/>
              <a:latin typeface="Open Sans"/>
              <a:ea typeface="+mn-ea"/>
              <a:cs typeface="+mn-cs"/>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1" u="none" strike="noStrike" kern="1200" cap="none" spc="0" normalizeH="0" baseline="0" noProof="0" dirty="0">
                <a:ln>
                  <a:noFill/>
                </a:ln>
                <a:solidFill>
                  <a:srgbClr val="3F3F3F"/>
                </a:solidFill>
                <a:effectLst/>
                <a:uLnTx/>
                <a:uFillTx/>
                <a:latin typeface="Open Sans"/>
                <a:ea typeface="+mn-ea"/>
                <a:cs typeface="+mn-cs"/>
              </a:rPr>
              <a:t>Power Automate can be used with hundreds of applications and platforms.</a:t>
            </a:r>
            <a:r>
              <a:rPr kumimoji="0" lang="en-US" sz="1800" b="0" i="0" u="none" strike="noStrike" kern="1200" cap="none" spc="0" normalizeH="0" baseline="0" noProof="0" dirty="0">
                <a:ln>
                  <a:noFill/>
                </a:ln>
                <a:solidFill>
                  <a:srgbClr val="3F3F3F"/>
                </a:solidFill>
                <a:effectLst/>
                <a:uLnTx/>
                <a:uFillTx/>
                <a:latin typeface="Open Sans"/>
                <a:ea typeface="+mn-ea"/>
                <a:cs typeface="+mn-cs"/>
              </a:rPr>
              <a:t>  </a:t>
            </a:r>
            <a:r>
              <a:rPr kumimoji="0" lang="en-US" sz="1800" b="1" i="0" u="none" strike="noStrike" kern="1200" cap="none" spc="0" normalizeH="0" baseline="0" noProof="0" dirty="0">
                <a:ln>
                  <a:noFill/>
                </a:ln>
                <a:solidFill>
                  <a:srgbClr val="3F3F3F"/>
                </a:solidFill>
                <a:effectLst/>
                <a:uLnTx/>
                <a:uFillTx/>
                <a:latin typeface="Open Sans"/>
                <a:ea typeface="+mn-ea"/>
                <a:cs typeface="+mn-cs"/>
              </a:rPr>
              <a:t>SharePoint Designer only works with SharePoint.</a:t>
            </a:r>
            <a:r>
              <a:rPr kumimoji="0" lang="en-US" sz="1800" b="0" i="0" u="none" strike="noStrike" kern="1200" cap="none" spc="0" normalizeH="0" baseline="0" noProof="0" dirty="0">
                <a:ln>
                  <a:noFill/>
                </a:ln>
                <a:solidFill>
                  <a:srgbClr val="3F3F3F"/>
                </a:solidFill>
                <a:effectLst/>
                <a:uLnTx/>
                <a:uFillTx/>
                <a:latin typeface="Open Sans"/>
                <a:ea typeface="+mn-ea"/>
                <a:cs typeface="+mn-cs"/>
              </a:rPr>
              <a:t>   </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F3F3F"/>
                </a:solidFill>
                <a:effectLst/>
                <a:uLnTx/>
                <a:uFillTx/>
                <a:latin typeface="Open Sans"/>
                <a:ea typeface="+mn-ea"/>
                <a:cs typeface="+mn-cs"/>
              </a:rPr>
              <a:t>SharePoint Designer workflows also only work within a single site.  Power Automate can go between sites, site collections and even different tenants and farms.  </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F3F3F"/>
                </a:solidFill>
                <a:effectLst/>
                <a:uLnTx/>
                <a:uFillTx/>
                <a:latin typeface="Open Sans"/>
                <a:ea typeface="+mn-ea"/>
                <a:cs typeface="+mn-cs"/>
              </a:rPr>
              <a:t>Power Automate is much more extendable in terms of business automa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oboto"/>
                <a:ea typeface="+mn-ea"/>
                <a:cs typeface="+mn-cs"/>
              </a:rPr>
              <a:t>Lots of workflow actions are available in SharePoint Designer but all the actions are specific to SharePoint only. You need development knowledge to communicate with various services from SharePoint designer. </a:t>
            </a:r>
            <a:endParaRPr lang="en-US" dirty="0"/>
          </a:p>
        </p:txBody>
      </p:sp>
      <p:sp>
        <p:nvSpPr>
          <p:cNvPr id="4" name="Slide Number Placeholder 3"/>
          <p:cNvSpPr>
            <a:spLocks noGrp="1"/>
          </p:cNvSpPr>
          <p:nvPr>
            <p:ph type="sldNum" sz="quarter" idx="5"/>
          </p:nvPr>
        </p:nvSpPr>
        <p:spPr/>
        <p:txBody>
          <a:bodyPr/>
          <a:lstStyle/>
          <a:p>
            <a:fld id="{DF6CE0AF-8EE2-4CEE-89C8-5D4DAFA806D3}" type="slidenum">
              <a:rPr lang="en-US" smtClean="0"/>
              <a:t>10</a:t>
            </a:fld>
            <a:endParaRPr lang="en-US" dirty="0"/>
          </a:p>
        </p:txBody>
      </p:sp>
    </p:spTree>
    <p:extLst>
      <p:ext uri="{BB962C8B-B14F-4D97-AF65-F5344CB8AC3E}">
        <p14:creationId xmlns:p14="http://schemas.microsoft.com/office/powerpoint/2010/main" val="14062788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www.microsoft.com/About/Legal/EN/US/IntellectualProperty/Permissions/Default.aspx" TargetMode="Externa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004819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28874669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23486324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pening slide">
    <p:spTree>
      <p:nvGrpSpPr>
        <p:cNvPr id="1" name=""/>
        <p:cNvGrpSpPr/>
        <p:nvPr/>
      </p:nvGrpSpPr>
      <p:grpSpPr>
        <a:xfrm>
          <a:off x="0" y="0"/>
          <a:ext cx="0" cy="0"/>
          <a:chOff x="0" y="0"/>
          <a:chExt cx="0" cy="0"/>
        </a:xfrm>
      </p:grpSpPr>
      <p:pic>
        <p:nvPicPr>
          <p:cNvPr id="16" name="Picture 15" descr="A person sitting at a table using a computer&#10;&#10;Description generated with very high confidence">
            <a:extLst>
              <a:ext uri="{FF2B5EF4-FFF2-40B4-BE49-F238E27FC236}">
                <a16:creationId xmlns:a16="http://schemas.microsoft.com/office/drawing/2014/main" id="{57845365-75B2-4C45-94C5-9E4682E44F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587" r="5587" b="14693"/>
          <a:stretch/>
        </p:blipFill>
        <p:spPr>
          <a:xfrm>
            <a:off x="867" y="487"/>
            <a:ext cx="12190271" cy="6857028"/>
          </a:xfrm>
          <a:prstGeom prst="rect">
            <a:avLst/>
          </a:prstGeom>
        </p:spPr>
      </p:pic>
      <p:sp>
        <p:nvSpPr>
          <p:cNvPr id="17" name="Rectangle 16">
            <a:extLst>
              <a:ext uri="{FF2B5EF4-FFF2-40B4-BE49-F238E27FC236}">
                <a16:creationId xmlns:a16="http://schemas.microsoft.com/office/drawing/2014/main" id="{4BCDF35F-83D1-45A1-A01D-21CE2CB1B83D}"/>
              </a:ext>
            </a:extLst>
          </p:cNvPr>
          <p:cNvSpPr/>
          <p:nvPr userDrawn="1"/>
        </p:nvSpPr>
        <p:spPr bwMode="auto">
          <a:xfrm rot="5400000">
            <a:off x="2611821" y="-2611821"/>
            <a:ext cx="6966633" cy="12190275"/>
          </a:xfrm>
          <a:prstGeom prst="rect">
            <a:avLst/>
          </a:prstGeom>
          <a:gradFill flip="none" rotWithShape="1">
            <a:gsLst>
              <a:gs pos="25000">
                <a:schemeClr val="bg1">
                  <a:lumMod val="10000"/>
                  <a:alpha val="71000"/>
                </a:schemeClr>
              </a:gs>
              <a:gs pos="43000">
                <a:schemeClr val="tx1">
                  <a:alpha val="49000"/>
                </a:schemeClr>
              </a:gs>
              <a:gs pos="74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p>
        </p:txBody>
      </p:sp>
      <p:sp>
        <p:nvSpPr>
          <p:cNvPr id="11" name="Text Placeholder 5">
            <a:extLst>
              <a:ext uri="{FF2B5EF4-FFF2-40B4-BE49-F238E27FC236}">
                <a16:creationId xmlns:a16="http://schemas.microsoft.com/office/drawing/2014/main" id="{A5EED5F9-E966-4791-8CE2-1F0AFF7507D7}"/>
              </a:ext>
            </a:extLst>
          </p:cNvPr>
          <p:cNvSpPr>
            <a:spLocks noGrp="1"/>
          </p:cNvSpPr>
          <p:nvPr>
            <p:ph type="body" sz="quarter" idx="18"/>
          </p:nvPr>
        </p:nvSpPr>
        <p:spPr>
          <a:xfrm>
            <a:off x="181269" y="2295082"/>
            <a:ext cx="4895849" cy="656913"/>
          </a:xfrm>
          <a:prstGeom prst="rect">
            <a:avLst/>
          </a:prstGeom>
        </p:spPr>
        <p:txBody>
          <a:bodyPr/>
          <a:lstStyle>
            <a:lvl1pPr marL="0" indent="0">
              <a:buNone/>
              <a:defRPr kumimoji="0" lang="en-US" sz="4267" b="0" i="0" u="none" strike="noStrike" kern="1200" cap="none" spc="-99" normalizeH="0" baseline="0" dirty="0">
                <a:ln w="3175">
                  <a:noFill/>
                </a:ln>
                <a:solidFill>
                  <a:srgbClr val="E6E6E6"/>
                </a:solidFill>
                <a:effectLst/>
                <a:uLnTx/>
                <a:uFillTx/>
                <a:latin typeface="Segoe UI Semibold"/>
                <a:ea typeface="+mn-ea"/>
                <a:cs typeface="Segoe UI Semibold" panose="020B0702040204020203" pitchFamily="34" charset="0"/>
              </a:defRPr>
            </a:lvl1pPr>
          </a:lstStyle>
          <a:p>
            <a:pPr marL="0" lvl="0" algn="l" defTabSz="914169" rtl="0" eaLnBrk="1" latinLnBrk="0" hangingPunct="1">
              <a:lnSpc>
                <a:spcPct val="90000"/>
              </a:lnSpc>
              <a:spcBef>
                <a:spcPct val="0"/>
              </a:spcBef>
              <a:defRPr/>
            </a:pPr>
            <a:endParaRPr lang="en-US" dirty="0"/>
          </a:p>
        </p:txBody>
      </p:sp>
      <p:pic>
        <p:nvPicPr>
          <p:cNvPr id="13"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9" name="Text Placeholder 5">
            <a:extLst>
              <a:ext uri="{FF2B5EF4-FFF2-40B4-BE49-F238E27FC236}">
                <a16:creationId xmlns:a16="http://schemas.microsoft.com/office/drawing/2014/main" id="{7331556A-F7C1-41E0-BAB6-F94E00CE2F5C}"/>
              </a:ext>
            </a:extLst>
          </p:cNvPr>
          <p:cNvSpPr>
            <a:spLocks noGrp="1"/>
          </p:cNvSpPr>
          <p:nvPr>
            <p:ph type="body" sz="quarter" idx="17" hasCustomPrompt="1"/>
          </p:nvPr>
        </p:nvSpPr>
        <p:spPr>
          <a:xfrm>
            <a:off x="336056" y="5420525"/>
            <a:ext cx="4895849" cy="504753"/>
          </a:xfrm>
          <a:prstGeom prst="rect">
            <a:avLst/>
          </a:prstGeom>
        </p:spPr>
        <p:txBody>
          <a:bodyPr anchor="b"/>
          <a:lstStyle>
            <a:lvl1pPr marL="0" indent="0">
              <a:buNone/>
              <a:defRPr lang="en-US" sz="2133" kern="1200" spc="-99" dirty="0">
                <a:ln w="3175">
                  <a:noFill/>
                </a:ln>
                <a:solidFill>
                  <a:srgbClr val="E6E6E6"/>
                </a:solidFill>
                <a:latin typeface="Segoe UI Semibold"/>
                <a:ea typeface="+mn-ea"/>
                <a:cs typeface="Segoe UI Semibold" panose="020B0702040204020203" pitchFamily="34" charset="0"/>
              </a:defRPr>
            </a:lvl1pPr>
          </a:lstStyle>
          <a:p>
            <a:pPr marL="0" lvl="0" algn="l" defTabSz="914169" rtl="0" eaLnBrk="1" latinLnBrk="0" hangingPunct="1">
              <a:lnSpc>
                <a:spcPct val="90000"/>
              </a:lnSpc>
              <a:spcBef>
                <a:spcPct val="0"/>
              </a:spcBef>
              <a:defRPr/>
            </a:pPr>
            <a:r>
              <a:rPr lang="en-US" dirty="0"/>
              <a:t>Speaker Name</a:t>
            </a:r>
          </a:p>
        </p:txBody>
      </p:sp>
    </p:spTree>
    <p:extLst>
      <p:ext uri="{BB962C8B-B14F-4D97-AF65-F5344CB8AC3E}">
        <p14:creationId xmlns:p14="http://schemas.microsoft.com/office/powerpoint/2010/main" val="224757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pic>
        <p:nvPicPr>
          <p:cNvPr id="8" name="Picture 7" descr="A person sitting at a table using a computer&#10;&#10;Description generated with very high confidence">
            <a:extLst>
              <a:ext uri="{FF2B5EF4-FFF2-40B4-BE49-F238E27FC236}">
                <a16:creationId xmlns:a16="http://schemas.microsoft.com/office/drawing/2014/main" id="{851C6924-1B04-43C9-AC2F-F274D7F69B9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587" r="5587" b="14693"/>
          <a:stretch/>
        </p:blipFill>
        <p:spPr>
          <a:xfrm>
            <a:off x="867" y="487"/>
            <a:ext cx="12190271" cy="6857028"/>
          </a:xfrm>
          <a:prstGeom prst="rect">
            <a:avLst/>
          </a:prstGeom>
        </p:spPr>
      </p:pic>
      <p:sp>
        <p:nvSpPr>
          <p:cNvPr id="9" name="Rectangle 8">
            <a:extLst>
              <a:ext uri="{FF2B5EF4-FFF2-40B4-BE49-F238E27FC236}">
                <a16:creationId xmlns:a16="http://schemas.microsoft.com/office/drawing/2014/main" id="{0049F4B4-AE42-4204-91CF-2C16E09AEADE}"/>
              </a:ext>
            </a:extLst>
          </p:cNvPr>
          <p:cNvSpPr/>
          <p:nvPr userDrawn="1"/>
        </p:nvSpPr>
        <p:spPr bwMode="auto">
          <a:xfrm rot="5400000">
            <a:off x="2613546" y="-2611821"/>
            <a:ext cx="6966633" cy="12190275"/>
          </a:xfrm>
          <a:prstGeom prst="rect">
            <a:avLst/>
          </a:prstGeom>
          <a:gradFill flip="none" rotWithShape="1">
            <a:gsLst>
              <a:gs pos="25000">
                <a:schemeClr val="bg1">
                  <a:lumMod val="10000"/>
                  <a:alpha val="71000"/>
                </a:schemeClr>
              </a:gs>
              <a:gs pos="43000">
                <a:schemeClr val="tx1">
                  <a:alpha val="49000"/>
                </a:schemeClr>
              </a:gs>
              <a:gs pos="74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32270"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p>
        </p:txBody>
      </p:sp>
      <p:pic>
        <p:nvPicPr>
          <p:cNvPr id="10" name="Picture 6">
            <a:extLst>
              <a:ext uri="{FF2B5EF4-FFF2-40B4-BE49-F238E27FC236}">
                <a16:creationId xmlns:a16="http://schemas.microsoft.com/office/drawing/2014/main" id="{139AD953-C26D-4675-B6A0-286A999CAF7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11" name="Text Placeholder 5">
            <a:extLst>
              <a:ext uri="{FF2B5EF4-FFF2-40B4-BE49-F238E27FC236}">
                <a16:creationId xmlns:a16="http://schemas.microsoft.com/office/drawing/2014/main" id="{7005A992-D727-413E-A49C-4CBE988DD4BF}"/>
              </a:ext>
            </a:extLst>
          </p:cNvPr>
          <p:cNvSpPr>
            <a:spLocks noGrp="1"/>
          </p:cNvSpPr>
          <p:nvPr>
            <p:ph type="body" sz="quarter" idx="17" hasCustomPrompt="1"/>
          </p:nvPr>
        </p:nvSpPr>
        <p:spPr>
          <a:xfrm>
            <a:off x="336056" y="5420525"/>
            <a:ext cx="4895849" cy="504753"/>
          </a:xfrm>
          <a:prstGeom prst="rect">
            <a:avLst/>
          </a:prstGeom>
        </p:spPr>
        <p:txBody>
          <a:bodyPr anchor="b"/>
          <a:lstStyle>
            <a:lvl1pPr marL="0" indent="0">
              <a:buNone/>
              <a:defRPr lang="en-US" sz="2133" kern="1200" spc="-99" dirty="0">
                <a:ln w="3175">
                  <a:noFill/>
                </a:ln>
                <a:solidFill>
                  <a:srgbClr val="E6E6E6"/>
                </a:solidFill>
                <a:latin typeface="Segoe UI Semibold"/>
                <a:ea typeface="+mn-ea"/>
                <a:cs typeface="Segoe UI Semibold" panose="020B0702040204020203" pitchFamily="34" charset="0"/>
              </a:defRPr>
            </a:lvl1pPr>
          </a:lstStyle>
          <a:p>
            <a:pPr marL="0" lvl="0" algn="l" defTabSz="914169" rtl="0" eaLnBrk="1" latinLnBrk="0" hangingPunct="1">
              <a:lnSpc>
                <a:spcPct val="90000"/>
              </a:lnSpc>
              <a:spcBef>
                <a:spcPct val="0"/>
              </a:spcBef>
              <a:defRPr/>
            </a:pPr>
            <a:r>
              <a:rPr lang="en-US" dirty="0"/>
              <a:t>Speaker Name</a:t>
            </a:r>
          </a:p>
        </p:txBody>
      </p:sp>
    </p:spTree>
    <p:extLst>
      <p:ext uri="{BB962C8B-B14F-4D97-AF65-F5344CB8AC3E}">
        <p14:creationId xmlns:p14="http://schemas.microsoft.com/office/powerpoint/2010/main" val="23853878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EULA">
    <p:spTree>
      <p:nvGrpSpPr>
        <p:cNvPr id="1" name=""/>
        <p:cNvGrpSpPr/>
        <p:nvPr/>
      </p:nvGrpSpPr>
      <p:grpSpPr>
        <a:xfrm>
          <a:off x="0" y="0"/>
          <a:ext cx="0" cy="0"/>
          <a:chOff x="0" y="0"/>
          <a:chExt cx="0" cy="0"/>
        </a:xfrm>
      </p:grpSpPr>
      <p:sp>
        <p:nvSpPr>
          <p:cNvPr id="6" name="TextBox 5"/>
          <p:cNvSpPr txBox="1"/>
          <p:nvPr/>
        </p:nvSpPr>
        <p:spPr>
          <a:xfrm>
            <a:off x="304800" y="3322529"/>
            <a:ext cx="11684000" cy="2109443"/>
          </a:xfrm>
          <a:prstGeom prst="rect">
            <a:avLst/>
          </a:prstGeom>
          <a:noFill/>
          <a:ln>
            <a:noFill/>
          </a:ln>
        </p:spPr>
        <p:txBody>
          <a:bodyPr vert="horz" wrap="square" lIns="243829" tIns="182870" rIns="121914" bIns="60957" rtlCol="0" anchor="t" anchorCtr="0">
            <a:noAutofit/>
          </a:bodyPr>
          <a:lstStyle/>
          <a:p>
            <a:pPr defTabSz="609555">
              <a:lnSpc>
                <a:spcPct val="90000"/>
              </a:lnSpc>
              <a:spcAft>
                <a:spcPts val="800"/>
              </a:spcAft>
            </a:pPr>
            <a:r>
              <a:rPr lang="en-US" sz="1300" dirty="0">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555">
              <a:lnSpc>
                <a:spcPct val="90000"/>
              </a:lnSpc>
              <a:spcAft>
                <a:spcPts val="800"/>
              </a:spcAft>
            </a:pPr>
            <a:r>
              <a:rPr lang="en-US" sz="1300" dirty="0">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555">
              <a:lnSpc>
                <a:spcPct val="90000"/>
              </a:lnSpc>
              <a:spcAft>
                <a:spcPts val="800"/>
              </a:spcAft>
            </a:pPr>
            <a:r>
              <a:rPr lang="en-US" sz="1300" dirty="0">
                <a:solidFill>
                  <a:srgbClr val="000000">
                    <a:alpha val="87000"/>
                  </a:srgbClr>
                </a:solidFill>
              </a:rPr>
              <a:t>For more information, see Use of Microsoft Copyrighted Content at</a:t>
            </a:r>
          </a:p>
          <a:p>
            <a:pPr algn="ctr" defTabSz="609555">
              <a:lnSpc>
                <a:spcPct val="90000"/>
              </a:lnSpc>
              <a:spcAft>
                <a:spcPts val="800"/>
              </a:spcAft>
            </a:pPr>
            <a:r>
              <a:rPr lang="en-GB" sz="1300" kern="1200" dirty="0">
                <a:solidFill>
                  <a:srgbClr val="000000">
                    <a:alpha val="87000"/>
                  </a:srgbClr>
                </a:solidFill>
                <a:latin typeface="+mn-lt"/>
                <a:ea typeface="+mn-ea"/>
                <a:cs typeface="+mn-cs"/>
                <a:hlinkClick r:id="rId2"/>
              </a:rPr>
              <a:t>http://www.microsoft.com/About/Legal/EN/US/IntellectualProperty/Permissions/Default.aspx</a:t>
            </a:r>
            <a:endParaRPr lang="en-US" sz="1300" dirty="0">
              <a:solidFill>
                <a:srgbClr val="000000">
                  <a:alpha val="87000"/>
                </a:srgbClr>
              </a:solidFill>
            </a:endParaRPr>
          </a:p>
          <a:p>
            <a:pPr algn="l" defTabSz="609555">
              <a:lnSpc>
                <a:spcPct val="90000"/>
              </a:lnSpc>
              <a:spcAft>
                <a:spcPts val="800"/>
              </a:spcAft>
            </a:pPr>
            <a:endParaRPr lang="en-US" sz="1300" dirty="0">
              <a:solidFill>
                <a:srgbClr val="000000">
                  <a:alpha val="87000"/>
                </a:srgbClr>
              </a:solidFill>
            </a:endParaRPr>
          </a:p>
        </p:txBody>
      </p:sp>
      <p:sp>
        <p:nvSpPr>
          <p:cNvPr id="7" name="TextBox 6"/>
          <p:cNvSpPr txBox="1"/>
          <p:nvPr/>
        </p:nvSpPr>
        <p:spPr>
          <a:xfrm>
            <a:off x="310777" y="103985"/>
            <a:ext cx="3149600" cy="406400"/>
          </a:xfrm>
          <a:prstGeom prst="rect">
            <a:avLst/>
          </a:prstGeom>
          <a:noFill/>
          <a:ln>
            <a:noFill/>
          </a:ln>
        </p:spPr>
        <p:txBody>
          <a:bodyPr vert="horz" wrap="none" lIns="243829" tIns="182870" rIns="121914" bIns="60957" rtlCol="0" anchor="ctr" anchorCtr="0">
            <a:noAutofit/>
          </a:bodyPr>
          <a:lstStyle/>
          <a:p>
            <a:pPr defTabSz="609555"/>
            <a:r>
              <a:rPr lang="en-US" sz="1500" b="1" dirty="0">
                <a:solidFill>
                  <a:srgbClr val="000000"/>
                </a:solidFill>
              </a:rPr>
              <a:t>Conditions and Terms of Use</a:t>
            </a:r>
            <a:endParaRPr lang="en-US" sz="1500" dirty="0">
              <a:solidFill>
                <a:srgbClr val="000000"/>
              </a:solidFill>
            </a:endParaRPr>
          </a:p>
        </p:txBody>
      </p:sp>
      <p:sp>
        <p:nvSpPr>
          <p:cNvPr id="8" name="TextBox 7"/>
          <p:cNvSpPr txBox="1"/>
          <p:nvPr/>
        </p:nvSpPr>
        <p:spPr>
          <a:xfrm>
            <a:off x="307789" y="2868966"/>
            <a:ext cx="3149600" cy="370545"/>
          </a:xfrm>
          <a:prstGeom prst="rect">
            <a:avLst/>
          </a:prstGeom>
          <a:noFill/>
          <a:ln>
            <a:noFill/>
          </a:ln>
        </p:spPr>
        <p:txBody>
          <a:bodyPr vert="horz" wrap="none" lIns="243829" tIns="182870" rIns="121914" bIns="60957" rtlCol="0" anchor="ctr" anchorCtr="0">
            <a:noAutofit/>
          </a:bodyPr>
          <a:lstStyle/>
          <a:p>
            <a:pPr defTabSz="609555"/>
            <a:r>
              <a:rPr lang="en-US" sz="1500" b="1" dirty="0">
                <a:solidFill>
                  <a:srgbClr val="000000"/>
                </a:solidFill>
              </a:rPr>
              <a:t>Copyright and Trademarks</a:t>
            </a:r>
          </a:p>
        </p:txBody>
      </p:sp>
      <p:sp>
        <p:nvSpPr>
          <p:cNvPr id="9" name="TextBox 8"/>
          <p:cNvSpPr txBox="1"/>
          <p:nvPr/>
        </p:nvSpPr>
        <p:spPr>
          <a:xfrm>
            <a:off x="304800" y="378527"/>
            <a:ext cx="3149600" cy="406400"/>
          </a:xfrm>
          <a:prstGeom prst="rect">
            <a:avLst/>
          </a:prstGeom>
          <a:noFill/>
          <a:ln>
            <a:noFill/>
          </a:ln>
        </p:spPr>
        <p:txBody>
          <a:bodyPr vert="horz" wrap="none" lIns="243829" tIns="182870" rIns="121914" bIns="60957" rtlCol="0" anchor="ctr" anchorCtr="0">
            <a:noAutofit/>
          </a:bodyPr>
          <a:lstStyle/>
          <a:p>
            <a:pPr defTabSz="609555"/>
            <a:r>
              <a:rPr lang="en-US" sz="1100" dirty="0">
                <a:solidFill>
                  <a:srgbClr val="277EB5"/>
                </a:solidFill>
              </a:rPr>
              <a:t>Microsoft Confidential</a:t>
            </a:r>
          </a:p>
        </p:txBody>
      </p:sp>
      <p:sp>
        <p:nvSpPr>
          <p:cNvPr id="10" name="TextBox 9"/>
          <p:cNvSpPr txBox="1"/>
          <p:nvPr/>
        </p:nvSpPr>
        <p:spPr>
          <a:xfrm>
            <a:off x="304800" y="3114288"/>
            <a:ext cx="3149600" cy="406400"/>
          </a:xfrm>
          <a:prstGeom prst="rect">
            <a:avLst/>
          </a:prstGeom>
          <a:noFill/>
          <a:ln>
            <a:noFill/>
          </a:ln>
        </p:spPr>
        <p:txBody>
          <a:bodyPr vert="horz" wrap="none" lIns="243829" tIns="182870" rIns="121914" bIns="60957" rtlCol="0" anchor="ctr" anchorCtr="0">
            <a:noAutofit/>
          </a:bodyPr>
          <a:lstStyle/>
          <a:p>
            <a:pPr defTabSz="609555"/>
            <a:r>
              <a:rPr lang="en-US" sz="1100" dirty="0">
                <a:solidFill>
                  <a:srgbClr val="277EB5"/>
                </a:solidFill>
              </a:rPr>
              <a:t>© 2018 Microsoft Corporation. All rights reserved.</a:t>
            </a:r>
          </a:p>
        </p:txBody>
      </p:sp>
      <p:sp>
        <p:nvSpPr>
          <p:cNvPr id="11" name="TextBox 10"/>
          <p:cNvSpPr txBox="1"/>
          <p:nvPr/>
        </p:nvSpPr>
        <p:spPr>
          <a:xfrm>
            <a:off x="304800" y="613936"/>
            <a:ext cx="11684000" cy="2438400"/>
          </a:xfrm>
          <a:prstGeom prst="rect">
            <a:avLst/>
          </a:prstGeom>
          <a:noFill/>
          <a:ln>
            <a:noFill/>
          </a:ln>
        </p:spPr>
        <p:txBody>
          <a:bodyPr vert="horz" wrap="square" lIns="243829" tIns="182870" rIns="121914" bIns="60957" rtlCol="0" anchor="t" anchorCtr="0">
            <a:normAutofit lnSpcReduction="10000"/>
          </a:bodyPr>
          <a:lstStyle/>
          <a:p>
            <a:pPr defTabSz="609555">
              <a:spcAft>
                <a:spcPts val="800"/>
              </a:spcAft>
            </a:pPr>
            <a:r>
              <a:rPr lang="en-US" sz="1300" dirty="0">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555">
              <a:spcAft>
                <a:spcPts val="800"/>
              </a:spcAft>
            </a:pPr>
            <a:r>
              <a:rPr lang="en-US" sz="1300" dirty="0">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555">
              <a:spcAft>
                <a:spcPts val="800"/>
              </a:spcAft>
            </a:pPr>
            <a:r>
              <a:rPr lang="en-US" sz="1300" dirty="0">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555">
              <a:spcAft>
                <a:spcPts val="800"/>
              </a:spcAft>
            </a:pPr>
            <a:endParaRPr lang="en-US" sz="1300" dirty="0">
              <a:solidFill>
                <a:srgbClr val="000000">
                  <a:alpha val="87000"/>
                </a:srgbClr>
              </a:solidFill>
            </a:endParaRPr>
          </a:p>
        </p:txBody>
      </p:sp>
      <p:sp>
        <p:nvSpPr>
          <p:cNvPr id="12" name="TextBox 11"/>
          <p:cNvSpPr txBox="1"/>
          <p:nvPr/>
        </p:nvSpPr>
        <p:spPr>
          <a:xfrm>
            <a:off x="304800" y="5257800"/>
            <a:ext cx="11480800" cy="1219200"/>
          </a:xfrm>
          <a:prstGeom prst="rect">
            <a:avLst/>
          </a:prstGeom>
          <a:noFill/>
          <a:ln>
            <a:noFill/>
          </a:ln>
        </p:spPr>
        <p:txBody>
          <a:bodyPr vert="horz" wrap="square" lIns="243829" tIns="182870" rIns="121914" bIns="60957" rtlCol="0" anchor="t" anchorCtr="0">
            <a:normAutofit/>
          </a:bodyPr>
          <a:lstStyle/>
          <a:p>
            <a:pPr>
              <a:lnSpc>
                <a:spcPct val="90000"/>
              </a:lnSpc>
            </a:pPr>
            <a:r>
              <a:rPr lang="en-US" sz="1300" dirty="0">
                <a:solidFill>
                  <a:srgbClr val="3F3F3F">
                    <a:alpha val="87000"/>
                  </a:srgbClr>
                </a:solidFill>
              </a:rPr>
              <a:t>Access, Excel, InfoPath, Microsoft, Microsoft Corporate Logo, MSDN, SharePoint, Visio,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a:lnSpc>
                <a:spcPct val="90000"/>
              </a:lnSpc>
            </a:pPr>
            <a:endParaRPr lang="en-US" sz="1300" dirty="0">
              <a:solidFill>
                <a:srgbClr val="3F3F3F">
                  <a:alpha val="87000"/>
                </a:srgbClr>
              </a:solidFill>
            </a:endParaRPr>
          </a:p>
        </p:txBody>
      </p:sp>
    </p:spTree>
    <p:extLst>
      <p:ext uri="{BB962C8B-B14F-4D97-AF65-F5344CB8AC3E}">
        <p14:creationId xmlns:p14="http://schemas.microsoft.com/office/powerpoint/2010/main" val="2671205343"/>
      </p:ext>
    </p:extLst>
  </p:cSld>
  <p:clrMapOvr>
    <a:masterClrMapping/>
  </p:clrMapOvr>
  <p:hf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8231516"/>
      </p:ext>
    </p:extLst>
  </p:cSld>
  <p:clrMapOvr>
    <a:masterClrMapping/>
  </p:clrMapOvr>
  <p:transition>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6128027"/>
      </p:ext>
    </p:extLst>
  </p:cSld>
  <p:clrMapOvr>
    <a:masterClrMapping/>
  </p:clrMapOvr>
  <p:transition>
    <p:fade/>
  </p:transition>
  <p:hf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03709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mo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03709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9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251817222"/>
      </p:ext>
    </p:extLst>
  </p:cSld>
  <p:clrMapOvr>
    <a:masterClrMapping/>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28406335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latin typeface="Segoe UI Light" panose="020B0502040204020203" pitchFamily="34" charset="0"/>
                <a:cs typeface="Segoe UI Light" panose="020B0502040204020203" pitchFamily="34" charset="0"/>
              </a:defRPr>
            </a:lvl1pPr>
          </a:lstStyle>
          <a:p>
            <a:r>
              <a:rPr lang="en-US" dirty="0"/>
              <a:t>Title</a:t>
            </a:r>
          </a:p>
        </p:txBody>
      </p:sp>
    </p:spTree>
    <p:extLst>
      <p:ext uri="{BB962C8B-B14F-4D97-AF65-F5344CB8AC3E}">
        <p14:creationId xmlns:p14="http://schemas.microsoft.com/office/powerpoint/2010/main" val="137476183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74518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9850764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2101478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9934092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2227779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2384273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415973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41543899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8/26/2020</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dirty="0"/>
          </a:p>
        </p:txBody>
      </p:sp>
    </p:spTree>
    <p:extLst>
      <p:ext uri="{BB962C8B-B14F-4D97-AF65-F5344CB8AC3E}">
        <p14:creationId xmlns:p14="http://schemas.microsoft.com/office/powerpoint/2010/main" val="3702388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61" r:id="rId13"/>
    <p:sldLayoutId id="2147483699" r:id="rId14"/>
    <p:sldLayoutId id="2147483700" r:id="rId15"/>
    <p:sldLayoutId id="2147483701" r:id="rId16"/>
    <p:sldLayoutId id="2147483705" r:id="rId17"/>
    <p:sldLayoutId id="2147483702" r:id="rId18"/>
    <p:sldLayoutId id="2147483703" r:id="rId19"/>
    <p:sldLayoutId id="2147483704" r:id="rId20"/>
    <p:sldLayoutId id="2147483706"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 Id="rId14" Type="http://schemas.openxmlformats.org/officeDocument/2006/relationships/image" Target="../media/image18.sv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hyperlink" Target="http://aka.ms/platformlimits"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microsoft.com/office/2007/relationships/diagramDrawing" Target="../diagrams/drawing5.xml"/><Relationship Id="rId13" Type="http://schemas.microsoft.com/office/2007/relationships/diagramDrawing" Target="../diagrams/drawing6.xml"/><Relationship Id="rId3" Type="http://schemas.microsoft.com/office/2018/10/relationships/comments" Target="../comments/modernComment_7BBF5469_BA41A2D0.xml"/><Relationship Id="rId7" Type="http://schemas.openxmlformats.org/officeDocument/2006/relationships/diagramColors" Target="../diagrams/colors5.xml"/><Relationship Id="rId12" Type="http://schemas.openxmlformats.org/officeDocument/2006/relationships/diagramColors" Target="../diagrams/colors6.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QuickStyle" Target="../diagrams/quickStyle5.xml"/><Relationship Id="rId11" Type="http://schemas.openxmlformats.org/officeDocument/2006/relationships/diagramQuickStyle" Target="../diagrams/quickStyle6.xml"/><Relationship Id="rId5" Type="http://schemas.openxmlformats.org/officeDocument/2006/relationships/diagramLayout" Target="../diagrams/layout5.xml"/><Relationship Id="rId10" Type="http://schemas.openxmlformats.org/officeDocument/2006/relationships/diagramLayout" Target="../diagrams/layout6.xml"/><Relationship Id="rId4" Type="http://schemas.openxmlformats.org/officeDocument/2006/relationships/diagramData" Target="../diagrams/data5.xml"/><Relationship Id="rId9" Type="http://schemas.openxmlformats.org/officeDocument/2006/relationships/diagramData" Target="../diagrams/data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image" Target="../media/image29.png"/><Relationship Id="rId7" Type="http://schemas.openxmlformats.org/officeDocument/2006/relationships/diagramQuickStyle" Target="../diagrams/quickStyle7.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image" Target="../media/image30.png"/><Relationship Id="rId9" Type="http://schemas.microsoft.com/office/2007/relationships/diagramDrawing" Target="../diagrams/drawing7.xml"/></Relationships>
</file>

<file path=ppt/slides/_rels/slide24.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31.png"/><Relationship Id="rId7" Type="http://schemas.openxmlformats.org/officeDocument/2006/relationships/diagramQuickStyle" Target="../diagrams/quickStyle8.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image" Target="../media/image32.png"/><Relationship Id="rId9" Type="http://schemas.microsoft.com/office/2007/relationships/diagramDrawing" Target="../diagrams/drawing8.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5.xml"/><Relationship Id="rId5" Type="http://schemas.openxmlformats.org/officeDocument/2006/relationships/image" Target="../media/image39.png"/><Relationship Id="rId4" Type="http://schemas.openxmlformats.org/officeDocument/2006/relationships/image" Target="../media/image38.png"/></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55.emf"/></Relationships>
</file>

<file path=ppt/slides/_rels/slide49.xml.rels><?xml version="1.0" encoding="UTF-8" standalone="yes"?>
<Relationships xmlns="http://schemas.openxmlformats.org/package/2006/relationships"><Relationship Id="rId3" Type="http://schemas.openxmlformats.org/officeDocument/2006/relationships/hyperlink" Target="http://aka.ms/platformlimits" TargetMode="External"/><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microsoft.com/office/2018/10/relationships/comments" Target="../comments/modernComment_129_40981100.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image" Target="../media/image58.png"/><Relationship Id="rId4" Type="http://schemas.openxmlformats.org/officeDocument/2006/relationships/image" Target="../media/image57.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385EC63-DDEB-4351-A380-B17AAF797670}"/>
              </a:ext>
            </a:extLst>
          </p:cNvPr>
          <p:cNvSpPr>
            <a:spLocks noGrp="1"/>
          </p:cNvSpPr>
          <p:nvPr>
            <p:ph type="body" sz="quarter" idx="18"/>
          </p:nvPr>
        </p:nvSpPr>
        <p:spPr>
          <a:xfrm>
            <a:off x="181269" y="932722"/>
            <a:ext cx="11742026" cy="2216878"/>
          </a:xfrm>
        </p:spPr>
        <p:txBody>
          <a:bodyPr>
            <a:normAutofit/>
          </a:bodyPr>
          <a:lstStyle/>
          <a:p>
            <a:r>
              <a:rPr lang="en-US" sz="4800" b="0" i="0" dirty="0">
                <a:solidFill>
                  <a:schemeClr val="bg1"/>
                </a:solidFill>
                <a:effectLst/>
                <a:latin typeface="Calibri" panose="020F0502020204030204" pitchFamily="34" charset="0"/>
              </a:rPr>
              <a:t>SharePoint Workflow to Power Automate</a:t>
            </a:r>
            <a:endParaRPr lang="en-US" sz="4800" dirty="0">
              <a:solidFill>
                <a:schemeClr val="bg1"/>
              </a:solidFill>
            </a:endParaRPr>
          </a:p>
        </p:txBody>
      </p:sp>
      <p:sp>
        <p:nvSpPr>
          <p:cNvPr id="5" name="Text Placeholder 4">
            <a:extLst>
              <a:ext uri="{FF2B5EF4-FFF2-40B4-BE49-F238E27FC236}">
                <a16:creationId xmlns:a16="http://schemas.microsoft.com/office/drawing/2014/main" id="{9848CF91-DD7D-4A38-A3E7-1C4CB4824405}"/>
              </a:ext>
            </a:extLst>
          </p:cNvPr>
          <p:cNvSpPr>
            <a:spLocks noGrp="1"/>
          </p:cNvSpPr>
          <p:nvPr>
            <p:ph type="body" sz="quarter" idx="17"/>
          </p:nvPr>
        </p:nvSpPr>
        <p:spPr/>
        <p:txBody>
          <a:bodyPr/>
          <a:lstStyle/>
          <a:p>
            <a:endParaRPr lang="en-US" dirty="0"/>
          </a:p>
        </p:txBody>
      </p:sp>
    </p:spTree>
    <p:extLst>
      <p:ext uri="{BB962C8B-B14F-4D97-AF65-F5344CB8AC3E}">
        <p14:creationId xmlns:p14="http://schemas.microsoft.com/office/powerpoint/2010/main" val="2385281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 name="Title 1">
            <a:extLst>
              <a:ext uri="{FF2B5EF4-FFF2-40B4-BE49-F238E27FC236}">
                <a16:creationId xmlns:a16="http://schemas.microsoft.com/office/drawing/2014/main" id="{6B9B2C58-E265-4B2E-B337-4F7BCE5DDF17}"/>
              </a:ext>
            </a:extLst>
          </p:cNvPr>
          <p:cNvSpPr>
            <a:spLocks noGrp="1"/>
          </p:cNvSpPr>
          <p:nvPr>
            <p:ph type="title"/>
          </p:nvPr>
        </p:nvSpPr>
        <p:spPr>
          <a:xfrm>
            <a:off x="838200" y="365125"/>
            <a:ext cx="10721996" cy="1325563"/>
          </a:xfrm>
        </p:spPr>
        <p:txBody>
          <a:bodyPr/>
          <a:lstStyle/>
          <a:p>
            <a:r>
              <a:rPr lang="en-US" dirty="0"/>
              <a:t>Modern SharePoint Workflow Authoring</a:t>
            </a:r>
          </a:p>
        </p:txBody>
      </p:sp>
      <p:graphicFrame>
        <p:nvGraphicFramePr>
          <p:cNvPr id="8" name="Content Placeholder 4">
            <a:extLst>
              <a:ext uri="{FF2B5EF4-FFF2-40B4-BE49-F238E27FC236}">
                <a16:creationId xmlns:a16="http://schemas.microsoft.com/office/drawing/2014/main" id="{E95C2415-776F-4CAB-A08B-09C4CEED7D6D}"/>
              </a:ext>
            </a:extLst>
          </p:cNvPr>
          <p:cNvGraphicFramePr>
            <a:graphicFrameLocks noGrp="1"/>
          </p:cNvGraphicFramePr>
          <p:nvPr>
            <p:ph idx="1"/>
            <p:extLst>
              <p:ext uri="{D42A27DB-BD31-4B8C-83A1-F6EECF244321}">
                <p14:modId xmlns:p14="http://schemas.microsoft.com/office/powerpoint/2010/main" val="3460727017"/>
              </p:ext>
            </p:extLst>
          </p:nvPr>
        </p:nvGraphicFramePr>
        <p:xfrm>
          <a:off x="838199" y="1825625"/>
          <a:ext cx="1072199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304813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1DD74-ECFF-4F6D-A99A-166E150EA5D9}"/>
              </a:ext>
            </a:extLst>
          </p:cNvPr>
          <p:cNvSpPr>
            <a:spLocks noGrp="1"/>
          </p:cNvSpPr>
          <p:nvPr>
            <p:ph type="title"/>
          </p:nvPr>
        </p:nvSpPr>
        <p:spPr>
          <a:xfrm>
            <a:off x="376331" y="365125"/>
            <a:ext cx="11306325" cy="1325563"/>
          </a:xfrm>
        </p:spPr>
        <p:txBody>
          <a:bodyPr/>
          <a:lstStyle/>
          <a:p>
            <a:r>
              <a:rPr lang="en-US" dirty="0"/>
              <a:t>Work less, do more</a:t>
            </a:r>
          </a:p>
        </p:txBody>
      </p:sp>
      <p:sp>
        <p:nvSpPr>
          <p:cNvPr id="3" name="Content Placeholder 2">
            <a:extLst>
              <a:ext uri="{FF2B5EF4-FFF2-40B4-BE49-F238E27FC236}">
                <a16:creationId xmlns:a16="http://schemas.microsoft.com/office/drawing/2014/main" id="{397EFE3C-103F-468B-BBA2-1D8E61F543BB}"/>
              </a:ext>
            </a:extLst>
          </p:cNvPr>
          <p:cNvSpPr>
            <a:spLocks noGrp="1"/>
          </p:cNvSpPr>
          <p:nvPr>
            <p:ph idx="1"/>
          </p:nvPr>
        </p:nvSpPr>
        <p:spPr>
          <a:xfrm>
            <a:off x="376331" y="1912315"/>
            <a:ext cx="11149922" cy="4580560"/>
          </a:xfrm>
        </p:spPr>
        <p:txBody>
          <a:bodyPr>
            <a:normAutofit/>
          </a:bodyPr>
          <a:lstStyle/>
          <a:p>
            <a:r>
              <a:rPr lang="en-US" sz="2400" dirty="0">
                <a:cs typeface="Segoe UI Light" panose="020B0502040204020203" pitchFamily="34" charset="0"/>
              </a:rPr>
              <a:t>Microsoft Power Automate helps </a:t>
            </a:r>
            <a:r>
              <a:rPr lang="en-US" sz="2400" b="1" dirty="0">
                <a:cs typeface="Segoe UI Light" panose="020B0502040204020203" pitchFamily="34" charset="0"/>
              </a:rPr>
              <a:t>non-developers</a:t>
            </a:r>
            <a:r>
              <a:rPr lang="en-US" sz="2400" dirty="0">
                <a:cs typeface="Segoe UI Light" panose="020B0502040204020203" pitchFamily="34" charset="0"/>
              </a:rPr>
              <a:t> work smarter by automating workflows across apps and services</a:t>
            </a:r>
          </a:p>
        </p:txBody>
      </p:sp>
      <p:grpSp>
        <p:nvGrpSpPr>
          <p:cNvPr id="9" name="Group 8">
            <a:extLst>
              <a:ext uri="{FF2B5EF4-FFF2-40B4-BE49-F238E27FC236}">
                <a16:creationId xmlns:a16="http://schemas.microsoft.com/office/drawing/2014/main" id="{AC031CED-34EF-4F1D-9A10-1C1D8E4B5040}"/>
              </a:ext>
            </a:extLst>
          </p:cNvPr>
          <p:cNvGrpSpPr/>
          <p:nvPr/>
        </p:nvGrpSpPr>
        <p:grpSpPr>
          <a:xfrm>
            <a:off x="3459346" y="3123133"/>
            <a:ext cx="2041743" cy="2214637"/>
            <a:chOff x="3601599" y="2689996"/>
            <a:chExt cx="2041743" cy="2214637"/>
          </a:xfrm>
        </p:grpSpPr>
        <p:sp>
          <p:nvSpPr>
            <p:cNvPr id="10" name="TextBox 9">
              <a:extLst>
                <a:ext uri="{FF2B5EF4-FFF2-40B4-BE49-F238E27FC236}">
                  <a16:creationId xmlns:a16="http://schemas.microsoft.com/office/drawing/2014/main" id="{6C859226-5291-40A4-B670-53C398C79B2D}"/>
                </a:ext>
              </a:extLst>
            </p:cNvPr>
            <p:cNvSpPr txBox="1"/>
            <p:nvPr/>
          </p:nvSpPr>
          <p:spPr>
            <a:xfrm>
              <a:off x="3993332" y="4510551"/>
              <a:ext cx="1300357" cy="394082"/>
            </a:xfrm>
            <a:prstGeom prst="rect">
              <a:avLst/>
            </a:prstGeom>
            <a:noFill/>
          </p:spPr>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rPr>
                <a:t>Copy files</a:t>
              </a:r>
            </a:p>
          </p:txBody>
        </p:sp>
        <p:grpSp>
          <p:nvGrpSpPr>
            <p:cNvPr id="11" name="Group 10">
              <a:extLst>
                <a:ext uri="{FF2B5EF4-FFF2-40B4-BE49-F238E27FC236}">
                  <a16:creationId xmlns:a16="http://schemas.microsoft.com/office/drawing/2014/main" id="{E23798AF-A64F-414F-9853-8BFB3F3C23E4}"/>
                </a:ext>
              </a:extLst>
            </p:cNvPr>
            <p:cNvGrpSpPr/>
            <p:nvPr/>
          </p:nvGrpSpPr>
          <p:grpSpPr>
            <a:xfrm>
              <a:off x="4068953" y="2689996"/>
              <a:ext cx="1112146" cy="770472"/>
              <a:chOff x="4222460" y="2218236"/>
              <a:chExt cx="1112146" cy="770472"/>
            </a:xfrm>
          </p:grpSpPr>
          <p:sp>
            <p:nvSpPr>
              <p:cNvPr id="13" name="Devices3_EA6C" title="Icon of a cellphone in front of a monitor">
                <a:extLst>
                  <a:ext uri="{FF2B5EF4-FFF2-40B4-BE49-F238E27FC236}">
                    <a16:creationId xmlns:a16="http://schemas.microsoft.com/office/drawing/2014/main" id="{914D3FC3-4058-491E-8D7C-AB38EC2007CA}"/>
                  </a:ext>
                </a:extLst>
              </p:cNvPr>
              <p:cNvSpPr>
                <a:spLocks noChangeAspect="1" noEditPoints="1"/>
              </p:cNvSpPr>
              <p:nvPr/>
            </p:nvSpPr>
            <p:spPr bwMode="auto">
              <a:xfrm>
                <a:off x="4222460" y="2218236"/>
                <a:ext cx="1112146" cy="770472"/>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4" name="arrow_11" title="Icon of a circle made of two curved arrows">
                <a:extLst>
                  <a:ext uri="{FF2B5EF4-FFF2-40B4-BE49-F238E27FC236}">
                    <a16:creationId xmlns:a16="http://schemas.microsoft.com/office/drawing/2014/main" id="{644C1E0F-AF86-4EA3-8D88-DDAC208FD910}"/>
                  </a:ext>
                </a:extLst>
              </p:cNvPr>
              <p:cNvSpPr>
                <a:spLocks noChangeAspect="1" noEditPoints="1"/>
              </p:cNvSpPr>
              <p:nvPr/>
            </p:nvSpPr>
            <p:spPr bwMode="auto">
              <a:xfrm>
                <a:off x="4672183" y="2365812"/>
                <a:ext cx="298562" cy="311892"/>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5" name="arrow_11" title="Icon of a circle made of two curved arrows">
                <a:extLst>
                  <a:ext uri="{FF2B5EF4-FFF2-40B4-BE49-F238E27FC236}">
                    <a16:creationId xmlns:a16="http://schemas.microsoft.com/office/drawing/2014/main" id="{98203519-4EE0-4B23-B3B2-58237AA1FD86}"/>
                  </a:ext>
                </a:extLst>
              </p:cNvPr>
              <p:cNvSpPr>
                <a:spLocks noChangeAspect="1" noEditPoints="1"/>
              </p:cNvSpPr>
              <p:nvPr/>
            </p:nvSpPr>
            <p:spPr bwMode="auto">
              <a:xfrm>
                <a:off x="4278569" y="2718643"/>
                <a:ext cx="132875" cy="138807"/>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12" name="Straight Connector 11">
              <a:extLst>
                <a:ext uri="{FF2B5EF4-FFF2-40B4-BE49-F238E27FC236}">
                  <a16:creationId xmlns:a16="http://schemas.microsoft.com/office/drawing/2014/main" id="{D7622E32-0393-42B6-817D-B196C3D8B300}"/>
                </a:ext>
              </a:extLst>
            </p:cNvPr>
            <p:cNvCxnSpPr/>
            <p:nvPr/>
          </p:nvCxnSpPr>
          <p:spPr>
            <a:xfrm>
              <a:off x="3601599" y="4024576"/>
              <a:ext cx="2041743" cy="0"/>
            </a:xfrm>
            <a:prstGeom prst="line">
              <a:avLst/>
            </a:prstGeom>
            <a:ln w="19050">
              <a:solidFill>
                <a:srgbClr val="00B6C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21E39949-A0C7-493F-9AE5-D1D238AF3FE5}"/>
              </a:ext>
            </a:extLst>
          </p:cNvPr>
          <p:cNvGrpSpPr/>
          <p:nvPr/>
        </p:nvGrpSpPr>
        <p:grpSpPr>
          <a:xfrm>
            <a:off x="6370858" y="2752630"/>
            <a:ext cx="2041743" cy="2585140"/>
            <a:chOff x="6513111" y="2319493"/>
            <a:chExt cx="2041743" cy="2585140"/>
          </a:xfrm>
        </p:grpSpPr>
        <p:sp>
          <p:nvSpPr>
            <p:cNvPr id="17" name="TextBox 16">
              <a:extLst>
                <a:ext uri="{FF2B5EF4-FFF2-40B4-BE49-F238E27FC236}">
                  <a16:creationId xmlns:a16="http://schemas.microsoft.com/office/drawing/2014/main" id="{36C59288-232B-4E1D-BB01-9C381F8A3F96}"/>
                </a:ext>
              </a:extLst>
            </p:cNvPr>
            <p:cNvSpPr txBox="1"/>
            <p:nvPr/>
          </p:nvSpPr>
          <p:spPr>
            <a:xfrm>
              <a:off x="6789532" y="4510551"/>
              <a:ext cx="1540806" cy="394082"/>
            </a:xfrm>
            <a:prstGeom prst="rect">
              <a:avLst/>
            </a:prstGeom>
            <a:noFill/>
          </p:spPr>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rPr>
                <a:t>Collect data</a:t>
              </a:r>
            </a:p>
          </p:txBody>
        </p:sp>
        <p:grpSp>
          <p:nvGrpSpPr>
            <p:cNvPr id="18" name="Group 17">
              <a:extLst>
                <a:ext uri="{FF2B5EF4-FFF2-40B4-BE49-F238E27FC236}">
                  <a16:creationId xmlns:a16="http://schemas.microsoft.com/office/drawing/2014/main" id="{B03B330E-CB6B-4DD7-A091-34A319363776}"/>
                </a:ext>
              </a:extLst>
            </p:cNvPr>
            <p:cNvGrpSpPr/>
            <p:nvPr/>
          </p:nvGrpSpPr>
          <p:grpSpPr>
            <a:xfrm>
              <a:off x="7078419" y="2319493"/>
              <a:ext cx="947932" cy="1140974"/>
              <a:chOff x="6684565" y="2673261"/>
              <a:chExt cx="947932" cy="1140974"/>
            </a:xfrm>
          </p:grpSpPr>
          <p:sp>
            <p:nvSpPr>
              <p:cNvPr id="20" name="FolderOpen_E838" title="Icon of an open folder">
                <a:extLst>
                  <a:ext uri="{FF2B5EF4-FFF2-40B4-BE49-F238E27FC236}">
                    <a16:creationId xmlns:a16="http://schemas.microsoft.com/office/drawing/2014/main" id="{814073F2-EAFD-42C5-9239-84E838D49630}"/>
                  </a:ext>
                </a:extLst>
              </p:cNvPr>
              <p:cNvSpPr>
                <a:spLocks noChangeAspect="1"/>
              </p:cNvSpPr>
              <p:nvPr/>
            </p:nvSpPr>
            <p:spPr bwMode="auto">
              <a:xfrm rot="16200000">
                <a:off x="6814838" y="2996577"/>
                <a:ext cx="687385" cy="947932"/>
              </a:xfrm>
              <a:custGeom>
                <a:avLst/>
                <a:gdLst>
                  <a:gd name="T0" fmla="*/ 0 w 2750"/>
                  <a:gd name="T1" fmla="*/ 0 h 3792"/>
                  <a:gd name="T2" fmla="*/ 963 w 2750"/>
                  <a:gd name="T3" fmla="*/ 963 h 3792"/>
                  <a:gd name="T4" fmla="*/ 1000 w 2750"/>
                  <a:gd name="T5" fmla="*/ 1052 h 3792"/>
                  <a:gd name="T6" fmla="*/ 1000 w 2750"/>
                  <a:gd name="T7" fmla="*/ 2313 h 3792"/>
                  <a:gd name="T8" fmla="*/ 875 w 2750"/>
                  <a:gd name="T9" fmla="*/ 2625 h 3792"/>
                  <a:gd name="T10" fmla="*/ 750 w 2750"/>
                  <a:gd name="T11" fmla="*/ 2938 h 3792"/>
                  <a:gd name="T12" fmla="*/ 750 w 2750"/>
                  <a:gd name="T13" fmla="*/ 3625 h 3792"/>
                  <a:gd name="T14" fmla="*/ 537 w 2750"/>
                  <a:gd name="T15" fmla="*/ 3713 h 3792"/>
                  <a:gd name="T16" fmla="*/ 0 w 2750"/>
                  <a:gd name="T17" fmla="*/ 3177 h 3792"/>
                  <a:gd name="T18" fmla="*/ 0 w 2750"/>
                  <a:gd name="T19" fmla="*/ 0 h 3792"/>
                  <a:gd name="T20" fmla="*/ 2375 w 2750"/>
                  <a:gd name="T21" fmla="*/ 0 h 3792"/>
                  <a:gd name="T22" fmla="*/ 2500 w 2750"/>
                  <a:gd name="T23" fmla="*/ 125 h 3792"/>
                  <a:gd name="T24" fmla="*/ 2500 w 2750"/>
                  <a:gd name="T25" fmla="*/ 1937 h 3792"/>
                  <a:gd name="T26" fmla="*/ 2625 w 2750"/>
                  <a:gd name="T27" fmla="*/ 2250 h 3792"/>
                  <a:gd name="T28" fmla="*/ 2750 w 2750"/>
                  <a:gd name="T29" fmla="*/ 2562 h 3792"/>
                  <a:gd name="T30" fmla="*/ 2750 w 2750"/>
                  <a:gd name="T31" fmla="*/ 3125 h 3792"/>
                  <a:gd name="T32" fmla="*/ 2625 w 2750"/>
                  <a:gd name="T33" fmla="*/ 3250 h 3792"/>
                  <a:gd name="T34" fmla="*/ 750 w 2750"/>
                  <a:gd name="T35" fmla="*/ 3250 h 3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0" h="3792">
                    <a:moveTo>
                      <a:pt x="0" y="0"/>
                    </a:moveTo>
                    <a:cubicBezTo>
                      <a:pt x="963" y="963"/>
                      <a:pt x="963" y="963"/>
                      <a:pt x="963" y="963"/>
                    </a:cubicBezTo>
                    <a:cubicBezTo>
                      <a:pt x="987" y="987"/>
                      <a:pt x="1000" y="1019"/>
                      <a:pt x="1000" y="1052"/>
                    </a:cubicBezTo>
                    <a:cubicBezTo>
                      <a:pt x="1000" y="2313"/>
                      <a:pt x="1000" y="2313"/>
                      <a:pt x="1000" y="2313"/>
                    </a:cubicBezTo>
                    <a:cubicBezTo>
                      <a:pt x="1000" y="2435"/>
                      <a:pt x="952" y="2545"/>
                      <a:pt x="875" y="2625"/>
                    </a:cubicBezTo>
                    <a:cubicBezTo>
                      <a:pt x="798" y="2705"/>
                      <a:pt x="750" y="2815"/>
                      <a:pt x="750" y="2938"/>
                    </a:cubicBezTo>
                    <a:cubicBezTo>
                      <a:pt x="750" y="3625"/>
                      <a:pt x="750" y="3625"/>
                      <a:pt x="750" y="3625"/>
                    </a:cubicBezTo>
                    <a:cubicBezTo>
                      <a:pt x="750" y="3736"/>
                      <a:pt x="615" y="3792"/>
                      <a:pt x="537" y="3713"/>
                    </a:cubicBezTo>
                    <a:cubicBezTo>
                      <a:pt x="0" y="3177"/>
                      <a:pt x="0" y="3177"/>
                      <a:pt x="0" y="3177"/>
                    </a:cubicBezTo>
                    <a:cubicBezTo>
                      <a:pt x="0" y="0"/>
                      <a:pt x="0" y="0"/>
                      <a:pt x="0" y="0"/>
                    </a:cubicBezTo>
                    <a:cubicBezTo>
                      <a:pt x="2375" y="0"/>
                      <a:pt x="2375" y="0"/>
                      <a:pt x="2375" y="0"/>
                    </a:cubicBezTo>
                    <a:cubicBezTo>
                      <a:pt x="2444" y="0"/>
                      <a:pt x="2500" y="56"/>
                      <a:pt x="2500" y="125"/>
                    </a:cubicBezTo>
                    <a:cubicBezTo>
                      <a:pt x="2500" y="1937"/>
                      <a:pt x="2500" y="1937"/>
                      <a:pt x="2500" y="1937"/>
                    </a:cubicBezTo>
                    <a:cubicBezTo>
                      <a:pt x="2500" y="2060"/>
                      <a:pt x="2548" y="2170"/>
                      <a:pt x="2625" y="2250"/>
                    </a:cubicBezTo>
                    <a:cubicBezTo>
                      <a:pt x="2702" y="2330"/>
                      <a:pt x="2750" y="2440"/>
                      <a:pt x="2750" y="2562"/>
                    </a:cubicBezTo>
                    <a:cubicBezTo>
                      <a:pt x="2750" y="3125"/>
                      <a:pt x="2750" y="3125"/>
                      <a:pt x="2750" y="3125"/>
                    </a:cubicBezTo>
                    <a:cubicBezTo>
                      <a:pt x="2750" y="3194"/>
                      <a:pt x="2694" y="3250"/>
                      <a:pt x="2625" y="3250"/>
                    </a:cubicBezTo>
                    <a:cubicBezTo>
                      <a:pt x="750" y="3250"/>
                      <a:pt x="750" y="3250"/>
                      <a:pt x="750" y="3250"/>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3CFE3763-9F4E-48A3-B1BA-1673C70AC51B}"/>
                  </a:ext>
                </a:extLst>
              </p:cNvPr>
              <p:cNvGrpSpPr/>
              <p:nvPr/>
            </p:nvGrpSpPr>
            <p:grpSpPr>
              <a:xfrm>
                <a:off x="6927431" y="2673261"/>
                <a:ext cx="549702" cy="954856"/>
                <a:chOff x="6927430" y="1780483"/>
                <a:chExt cx="549702" cy="954856"/>
              </a:xfrm>
            </p:grpSpPr>
            <p:grpSp>
              <p:nvGrpSpPr>
                <p:cNvPr id="22" name="Group 21">
                  <a:extLst>
                    <a:ext uri="{FF2B5EF4-FFF2-40B4-BE49-F238E27FC236}">
                      <a16:creationId xmlns:a16="http://schemas.microsoft.com/office/drawing/2014/main" id="{9C32C22B-E0C3-4BEA-92B5-C0AB996F9F1E}"/>
                    </a:ext>
                  </a:extLst>
                </p:cNvPr>
                <p:cNvGrpSpPr/>
                <p:nvPr/>
              </p:nvGrpSpPr>
              <p:grpSpPr>
                <a:xfrm>
                  <a:off x="6927430" y="2272728"/>
                  <a:ext cx="549702" cy="462611"/>
                  <a:chOff x="6942612" y="2247592"/>
                  <a:chExt cx="579571" cy="487748"/>
                </a:xfrm>
              </p:grpSpPr>
              <p:pic>
                <p:nvPicPr>
                  <p:cNvPr id="24" name="Picture 23">
                    <a:extLst>
                      <a:ext uri="{FF2B5EF4-FFF2-40B4-BE49-F238E27FC236}">
                        <a16:creationId xmlns:a16="http://schemas.microsoft.com/office/drawing/2014/main" id="{4EA413EB-D456-4CF5-8EF6-3E7792421FD5}"/>
                      </a:ext>
                    </a:extLst>
                  </p:cNvPr>
                  <p:cNvPicPr>
                    <a:picLocks noChangeAspect="1"/>
                  </p:cNvPicPr>
                  <p:nvPr/>
                </p:nvPicPr>
                <p:blipFill rotWithShape="1">
                  <a:blip r:embed="rId3"/>
                  <a:srcRect t="1" b="10696"/>
                  <a:stretch/>
                </p:blipFill>
                <p:spPr>
                  <a:xfrm>
                    <a:off x="6942612" y="2247592"/>
                    <a:ext cx="554784" cy="430112"/>
                  </a:xfrm>
                  <a:prstGeom prst="rect">
                    <a:avLst/>
                  </a:prstGeom>
                </p:spPr>
              </p:pic>
              <p:pic>
                <p:nvPicPr>
                  <p:cNvPr id="25" name="Picture 24">
                    <a:extLst>
                      <a:ext uri="{FF2B5EF4-FFF2-40B4-BE49-F238E27FC236}">
                        <a16:creationId xmlns:a16="http://schemas.microsoft.com/office/drawing/2014/main" id="{A4F4517A-D19A-409C-9139-4E9B37182E2F}"/>
                      </a:ext>
                    </a:extLst>
                  </p:cNvPr>
                  <p:cNvPicPr>
                    <a:picLocks noChangeAspect="1"/>
                  </p:cNvPicPr>
                  <p:nvPr/>
                </p:nvPicPr>
                <p:blipFill rotWithShape="1">
                  <a:blip r:embed="rId3"/>
                  <a:srcRect l="81466" t="89304" r="-4135" b="-1271"/>
                  <a:stretch/>
                </p:blipFill>
                <p:spPr>
                  <a:xfrm>
                    <a:off x="7396420" y="2677704"/>
                    <a:ext cx="125763" cy="57636"/>
                  </a:xfrm>
                  <a:prstGeom prst="rect">
                    <a:avLst/>
                  </a:prstGeom>
                </p:spPr>
              </p:pic>
            </p:grpSp>
            <p:pic>
              <p:nvPicPr>
                <p:cNvPr id="23" name="Picture 22">
                  <a:extLst>
                    <a:ext uri="{FF2B5EF4-FFF2-40B4-BE49-F238E27FC236}">
                      <a16:creationId xmlns:a16="http://schemas.microsoft.com/office/drawing/2014/main" id="{C39E7604-2F1D-43DC-9D1C-A4879A0E970D}"/>
                    </a:ext>
                  </a:extLst>
                </p:cNvPr>
                <p:cNvPicPr>
                  <a:picLocks noChangeAspect="1"/>
                </p:cNvPicPr>
                <p:nvPr/>
              </p:nvPicPr>
              <p:blipFill rotWithShape="1">
                <a:blip r:embed="rId3"/>
                <a:srcRect t="2" b="-7285"/>
                <a:stretch/>
              </p:blipFill>
              <p:spPr>
                <a:xfrm>
                  <a:off x="6927430" y="1780483"/>
                  <a:ext cx="526192" cy="490082"/>
                </a:xfrm>
                <a:prstGeom prst="rect">
                  <a:avLst/>
                </a:prstGeom>
              </p:spPr>
            </p:pic>
          </p:grpSp>
        </p:grpSp>
        <p:cxnSp>
          <p:nvCxnSpPr>
            <p:cNvPr id="19" name="Straight Connector 18">
              <a:extLst>
                <a:ext uri="{FF2B5EF4-FFF2-40B4-BE49-F238E27FC236}">
                  <a16:creationId xmlns:a16="http://schemas.microsoft.com/office/drawing/2014/main" id="{B55378E6-4280-4715-B934-B69114B98522}"/>
                </a:ext>
              </a:extLst>
            </p:cNvPr>
            <p:cNvCxnSpPr/>
            <p:nvPr/>
          </p:nvCxnSpPr>
          <p:spPr>
            <a:xfrm>
              <a:off x="6513111" y="4024576"/>
              <a:ext cx="2041743" cy="0"/>
            </a:xfrm>
            <a:prstGeom prst="line">
              <a:avLst/>
            </a:prstGeom>
            <a:ln w="19050">
              <a:solidFill>
                <a:srgbClr val="00B6C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E0B1D969-4468-4391-8C0A-D04DF37D747E}"/>
              </a:ext>
            </a:extLst>
          </p:cNvPr>
          <p:cNvGrpSpPr/>
          <p:nvPr/>
        </p:nvGrpSpPr>
        <p:grpSpPr>
          <a:xfrm>
            <a:off x="9031339" y="3003304"/>
            <a:ext cx="2494914" cy="2334466"/>
            <a:chOff x="9173592" y="2570167"/>
            <a:chExt cx="2494914" cy="2334466"/>
          </a:xfrm>
        </p:grpSpPr>
        <p:sp>
          <p:nvSpPr>
            <p:cNvPr id="27" name="TextBox 26">
              <a:extLst>
                <a:ext uri="{FF2B5EF4-FFF2-40B4-BE49-F238E27FC236}">
                  <a16:creationId xmlns:a16="http://schemas.microsoft.com/office/drawing/2014/main" id="{445A95AE-DCA2-44E6-82F7-32DF21ED776A}"/>
                </a:ext>
              </a:extLst>
            </p:cNvPr>
            <p:cNvSpPr txBox="1"/>
            <p:nvPr/>
          </p:nvSpPr>
          <p:spPr>
            <a:xfrm>
              <a:off x="9173592" y="4510551"/>
              <a:ext cx="2494914" cy="394082"/>
            </a:xfrm>
            <a:prstGeom prst="rect">
              <a:avLst/>
            </a:prstGeom>
            <a:noFill/>
          </p:spPr>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rPr>
                <a:t>Automate approvals</a:t>
              </a:r>
            </a:p>
          </p:txBody>
        </p:sp>
        <p:sp>
          <p:nvSpPr>
            <p:cNvPr id="28" name="Trackers_EADF" title="Icon of a clipboard with a checklist on it">
              <a:extLst>
                <a:ext uri="{FF2B5EF4-FFF2-40B4-BE49-F238E27FC236}">
                  <a16:creationId xmlns:a16="http://schemas.microsoft.com/office/drawing/2014/main" id="{9B2DBFFA-09DE-400E-BA9C-B1B5F61E33A3}"/>
                </a:ext>
              </a:extLst>
            </p:cNvPr>
            <p:cNvSpPr>
              <a:spLocks noChangeAspect="1" noEditPoints="1"/>
            </p:cNvSpPr>
            <p:nvPr/>
          </p:nvSpPr>
          <p:spPr bwMode="auto">
            <a:xfrm>
              <a:off x="10087617" y="2570167"/>
              <a:ext cx="667888" cy="910695"/>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29" name="Straight Connector 28">
              <a:extLst>
                <a:ext uri="{FF2B5EF4-FFF2-40B4-BE49-F238E27FC236}">
                  <a16:creationId xmlns:a16="http://schemas.microsoft.com/office/drawing/2014/main" id="{660472AC-F7F3-4781-9E78-B26056AF9A4B}"/>
                </a:ext>
              </a:extLst>
            </p:cNvPr>
            <p:cNvCxnSpPr/>
            <p:nvPr/>
          </p:nvCxnSpPr>
          <p:spPr>
            <a:xfrm>
              <a:off x="9424624" y="4024576"/>
              <a:ext cx="2041743" cy="0"/>
            </a:xfrm>
            <a:prstGeom prst="line">
              <a:avLst/>
            </a:prstGeom>
            <a:ln w="19050">
              <a:solidFill>
                <a:srgbClr val="00B6C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118E69FE-32EC-4542-B640-2CDF5E23E585}"/>
              </a:ext>
            </a:extLst>
          </p:cNvPr>
          <p:cNvGrpSpPr/>
          <p:nvPr/>
        </p:nvGrpSpPr>
        <p:grpSpPr>
          <a:xfrm>
            <a:off x="547834" y="3123133"/>
            <a:ext cx="2081065" cy="2214637"/>
            <a:chOff x="690087" y="2689996"/>
            <a:chExt cx="2081065" cy="2214637"/>
          </a:xfrm>
        </p:grpSpPr>
        <p:grpSp>
          <p:nvGrpSpPr>
            <p:cNvPr id="31" name="Group 30">
              <a:extLst>
                <a:ext uri="{FF2B5EF4-FFF2-40B4-BE49-F238E27FC236}">
                  <a16:creationId xmlns:a16="http://schemas.microsoft.com/office/drawing/2014/main" id="{531BDDEB-E463-4B8D-BDD5-DA9AB263780F}"/>
                </a:ext>
              </a:extLst>
            </p:cNvPr>
            <p:cNvGrpSpPr/>
            <p:nvPr/>
          </p:nvGrpSpPr>
          <p:grpSpPr>
            <a:xfrm>
              <a:off x="1133052" y="2689996"/>
              <a:ext cx="1281278" cy="829601"/>
              <a:chOff x="1587182" y="3802959"/>
              <a:chExt cx="954960" cy="618317"/>
            </a:xfrm>
          </p:grpSpPr>
          <p:sp>
            <p:nvSpPr>
              <p:cNvPr id="34" name="Speech Bubble: Rectangle 33">
                <a:extLst>
                  <a:ext uri="{FF2B5EF4-FFF2-40B4-BE49-F238E27FC236}">
                    <a16:creationId xmlns:a16="http://schemas.microsoft.com/office/drawing/2014/main" id="{513FB466-58AA-4980-BA8C-EA1F9F08EAD5}"/>
                  </a:ext>
                </a:extLst>
              </p:cNvPr>
              <p:cNvSpPr/>
              <p:nvPr/>
            </p:nvSpPr>
            <p:spPr bwMode="auto">
              <a:xfrm>
                <a:off x="1889025" y="3802959"/>
                <a:ext cx="653117" cy="358566"/>
              </a:xfrm>
              <a:prstGeom prst="wedgeRectCallout">
                <a:avLst>
                  <a:gd name="adj1" fmla="val 8399"/>
                  <a:gd name="adj2" fmla="val 87599"/>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35" name="signal" title="Icon of a communication signal">
                <a:extLst>
                  <a:ext uri="{FF2B5EF4-FFF2-40B4-BE49-F238E27FC236}">
                    <a16:creationId xmlns:a16="http://schemas.microsoft.com/office/drawing/2014/main" id="{5BAB408D-B1ED-47E7-A832-DE5B7F6ABC94}"/>
                  </a:ext>
                </a:extLst>
              </p:cNvPr>
              <p:cNvSpPr>
                <a:spLocks noChangeAspect="1" noEditPoints="1"/>
              </p:cNvSpPr>
              <p:nvPr/>
            </p:nvSpPr>
            <p:spPr bwMode="auto">
              <a:xfrm>
                <a:off x="1607089" y="3894634"/>
                <a:ext cx="242120" cy="274801"/>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36" name="Rectangle: Rounded Corners 35">
                <a:extLst>
                  <a:ext uri="{FF2B5EF4-FFF2-40B4-BE49-F238E27FC236}">
                    <a16:creationId xmlns:a16="http://schemas.microsoft.com/office/drawing/2014/main" id="{0899E33F-6D7E-4F2B-A2BC-7455DCDBD64A}"/>
                  </a:ext>
                </a:extLst>
              </p:cNvPr>
              <p:cNvSpPr/>
              <p:nvPr/>
            </p:nvSpPr>
            <p:spPr bwMode="auto">
              <a:xfrm>
                <a:off x="1587182" y="4139340"/>
                <a:ext cx="281936" cy="281936"/>
              </a:xfrm>
              <a:prstGeom prst="roundRect">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Oval 36">
                <a:extLst>
                  <a:ext uri="{FF2B5EF4-FFF2-40B4-BE49-F238E27FC236}">
                    <a16:creationId xmlns:a16="http://schemas.microsoft.com/office/drawing/2014/main" id="{86AC8398-ED1F-4E77-BDE2-E7CFBC8EC8B4}"/>
                  </a:ext>
                </a:extLst>
              </p:cNvPr>
              <p:cNvSpPr/>
              <p:nvPr/>
            </p:nvSpPr>
            <p:spPr bwMode="auto">
              <a:xfrm>
                <a:off x="1806639" y="4088765"/>
                <a:ext cx="121245" cy="121245"/>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cxnSp>
          <p:nvCxnSpPr>
            <p:cNvPr id="32" name="Straight Connector 31">
              <a:extLst>
                <a:ext uri="{FF2B5EF4-FFF2-40B4-BE49-F238E27FC236}">
                  <a16:creationId xmlns:a16="http://schemas.microsoft.com/office/drawing/2014/main" id="{92E5651D-2C99-4F81-9809-32CB0C4BB129}"/>
                </a:ext>
              </a:extLst>
            </p:cNvPr>
            <p:cNvCxnSpPr/>
            <p:nvPr/>
          </p:nvCxnSpPr>
          <p:spPr>
            <a:xfrm>
              <a:off x="690087" y="4024576"/>
              <a:ext cx="2041743" cy="0"/>
            </a:xfrm>
            <a:prstGeom prst="line">
              <a:avLst/>
            </a:prstGeom>
            <a:ln w="19050">
              <a:solidFill>
                <a:srgbClr val="00B6C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14697F0-7022-4722-947B-172FC4883F75}"/>
                </a:ext>
              </a:extLst>
            </p:cNvPr>
            <p:cNvSpPr txBox="1"/>
            <p:nvPr/>
          </p:nvSpPr>
          <p:spPr>
            <a:xfrm>
              <a:off x="696545" y="4510551"/>
              <a:ext cx="2074607" cy="394082"/>
            </a:xfrm>
            <a:prstGeom prst="rect">
              <a:avLst/>
            </a:prstGeom>
            <a:noFill/>
          </p:spPr>
          <p:txBody>
            <a:bodyPr wrap="non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rPr>
                <a:t>Get notifications</a:t>
              </a:r>
            </a:p>
          </p:txBody>
        </p:sp>
      </p:grpSp>
    </p:spTree>
    <p:extLst>
      <p:ext uri="{BB962C8B-B14F-4D97-AF65-F5344CB8AC3E}">
        <p14:creationId xmlns:p14="http://schemas.microsoft.com/office/powerpoint/2010/main" val="2085199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1000" fill="hold"/>
                                        <p:tgtEl>
                                          <p:spTgt spid="30"/>
                                        </p:tgtEl>
                                        <p:attrNameLst>
                                          <p:attrName>ppt_x</p:attrName>
                                        </p:attrNameLst>
                                      </p:cBhvr>
                                      <p:tavLst>
                                        <p:tav tm="0">
                                          <p:val>
                                            <p:strVal val="1+#ppt_w/2"/>
                                          </p:val>
                                        </p:tav>
                                        <p:tav tm="100000">
                                          <p:val>
                                            <p:strVal val="#ppt_x"/>
                                          </p:val>
                                        </p:tav>
                                      </p:tavLst>
                                    </p:anim>
                                    <p:anim calcmode="lin" valueType="num">
                                      <p:cBhvr additive="base">
                                        <p:cTn id="8" dur="1000" fill="hold"/>
                                        <p:tgtEl>
                                          <p:spTgt spid="30"/>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1+#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1000" fill="hold"/>
                                        <p:tgtEl>
                                          <p:spTgt spid="16"/>
                                        </p:tgtEl>
                                        <p:attrNameLst>
                                          <p:attrName>ppt_x</p:attrName>
                                        </p:attrNameLst>
                                      </p:cBhvr>
                                      <p:tavLst>
                                        <p:tav tm="0">
                                          <p:val>
                                            <p:strVal val="1+#ppt_w/2"/>
                                          </p:val>
                                        </p:tav>
                                        <p:tav tm="100000">
                                          <p:val>
                                            <p:strVal val="#ppt_x"/>
                                          </p:val>
                                        </p:tav>
                                      </p:tavLst>
                                    </p:anim>
                                    <p:anim calcmode="lin" valueType="num">
                                      <p:cBhvr additive="base">
                                        <p:cTn id="16" dur="1000" fill="hold"/>
                                        <p:tgtEl>
                                          <p:spTgt spid="16"/>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1000" fill="hold"/>
                                        <p:tgtEl>
                                          <p:spTgt spid="26"/>
                                        </p:tgtEl>
                                        <p:attrNameLst>
                                          <p:attrName>ppt_x</p:attrName>
                                        </p:attrNameLst>
                                      </p:cBhvr>
                                      <p:tavLst>
                                        <p:tav tm="0">
                                          <p:val>
                                            <p:strVal val="1+#ppt_w/2"/>
                                          </p:val>
                                        </p:tav>
                                        <p:tav tm="100000">
                                          <p:val>
                                            <p:strVal val="#ppt_x"/>
                                          </p:val>
                                        </p:tav>
                                      </p:tavLst>
                                    </p:anim>
                                    <p:anim calcmode="lin" valueType="num">
                                      <p:cBhvr additive="base">
                                        <p:cTn id="20" dur="10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8D8A4E-5BE7-41E8-AE4C-000D480762FF}"/>
              </a:ext>
            </a:extLst>
          </p:cNvPr>
          <p:cNvSpPr>
            <a:spLocks noGrp="1"/>
          </p:cNvSpPr>
          <p:nvPr>
            <p:ph type="title"/>
          </p:nvPr>
        </p:nvSpPr>
        <p:spPr>
          <a:xfrm>
            <a:off x="276726" y="0"/>
            <a:ext cx="10515600" cy="1325563"/>
          </a:xfrm>
        </p:spPr>
        <p:txBody>
          <a:bodyPr/>
          <a:lstStyle/>
          <a:p>
            <a:r>
              <a:rPr lang="en-US" dirty="0"/>
              <a:t>Power Automate Templates</a:t>
            </a:r>
          </a:p>
        </p:txBody>
      </p:sp>
      <p:sp>
        <p:nvSpPr>
          <p:cNvPr id="4" name="Content Placeholder 3">
            <a:extLst>
              <a:ext uri="{FF2B5EF4-FFF2-40B4-BE49-F238E27FC236}">
                <a16:creationId xmlns:a16="http://schemas.microsoft.com/office/drawing/2014/main" id="{B60EFBCC-973E-45D6-8C4C-4D2FCF98EE15}"/>
              </a:ext>
            </a:extLst>
          </p:cNvPr>
          <p:cNvSpPr>
            <a:spLocks noGrp="1"/>
          </p:cNvSpPr>
          <p:nvPr>
            <p:ph idx="1"/>
          </p:nvPr>
        </p:nvSpPr>
        <p:spPr>
          <a:xfrm>
            <a:off x="276726" y="1109162"/>
            <a:ext cx="11369842" cy="1634038"/>
          </a:xfrm>
        </p:spPr>
        <p:txBody>
          <a:bodyPr>
            <a:normAutofit/>
          </a:bodyPr>
          <a:lstStyle/>
          <a:p>
            <a:pPr marL="0" indent="0">
              <a:buNone/>
            </a:pPr>
            <a:r>
              <a:rPr lang="en-US" b="0" i="0" dirty="0">
                <a:solidFill>
                  <a:srgbClr val="212121"/>
                </a:solidFill>
                <a:effectLst/>
                <a:latin typeface="open sans"/>
              </a:rPr>
              <a:t>1000s of predefined templates are available to use</a:t>
            </a:r>
          </a:p>
        </p:txBody>
      </p:sp>
      <p:pic>
        <p:nvPicPr>
          <p:cNvPr id="8" name="Picture 7">
            <a:extLst>
              <a:ext uri="{FF2B5EF4-FFF2-40B4-BE49-F238E27FC236}">
                <a16:creationId xmlns:a16="http://schemas.microsoft.com/office/drawing/2014/main" id="{510B1369-1CBC-4079-9361-DB1C9E2614C4}"/>
              </a:ext>
            </a:extLst>
          </p:cNvPr>
          <p:cNvPicPr>
            <a:picLocks noChangeAspect="1"/>
          </p:cNvPicPr>
          <p:nvPr/>
        </p:nvPicPr>
        <p:blipFill>
          <a:blip r:embed="rId3"/>
          <a:stretch>
            <a:fillRect/>
          </a:stretch>
        </p:blipFill>
        <p:spPr>
          <a:xfrm>
            <a:off x="861467" y="2058914"/>
            <a:ext cx="10725361" cy="4275274"/>
          </a:xfrm>
          <a:prstGeom prst="rect">
            <a:avLst/>
          </a:prstGeom>
        </p:spPr>
      </p:pic>
    </p:spTree>
    <p:extLst>
      <p:ext uri="{BB962C8B-B14F-4D97-AF65-F5344CB8AC3E}">
        <p14:creationId xmlns:p14="http://schemas.microsoft.com/office/powerpoint/2010/main" val="2046347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9DFBB-D276-4E89-8498-5913199BC53E}"/>
              </a:ext>
            </a:extLst>
          </p:cNvPr>
          <p:cNvSpPr>
            <a:spLocks noGrp="1"/>
          </p:cNvSpPr>
          <p:nvPr>
            <p:ph type="title"/>
          </p:nvPr>
        </p:nvSpPr>
        <p:spPr>
          <a:xfrm>
            <a:off x="588263" y="434482"/>
            <a:ext cx="11018520" cy="553998"/>
          </a:xfrm>
        </p:spPr>
        <p:txBody>
          <a:bodyPr>
            <a:normAutofit fontScale="90000"/>
          </a:bodyPr>
          <a:lstStyle/>
          <a:p>
            <a:r>
              <a:rPr lang="en-US" dirty="0"/>
              <a:t>SharePoint Power Automate Integrations</a:t>
            </a:r>
          </a:p>
        </p:txBody>
      </p:sp>
      <p:grpSp>
        <p:nvGrpSpPr>
          <p:cNvPr id="12" name="Group 11">
            <a:extLst>
              <a:ext uri="{FF2B5EF4-FFF2-40B4-BE49-F238E27FC236}">
                <a16:creationId xmlns:a16="http://schemas.microsoft.com/office/drawing/2014/main" id="{C45D0A0E-0DA5-4935-B4F9-A3B2BCC8A73E}"/>
              </a:ext>
            </a:extLst>
          </p:cNvPr>
          <p:cNvGrpSpPr/>
          <p:nvPr/>
        </p:nvGrpSpPr>
        <p:grpSpPr>
          <a:xfrm>
            <a:off x="4341889" y="1471236"/>
            <a:ext cx="3161759" cy="2140765"/>
            <a:chOff x="3327168" y="1371600"/>
            <a:chExt cx="3161759" cy="2140765"/>
          </a:xfrm>
        </p:grpSpPr>
        <p:grpSp>
          <p:nvGrpSpPr>
            <p:cNvPr id="28" name="Group 27">
              <a:extLst>
                <a:ext uri="{FF2B5EF4-FFF2-40B4-BE49-F238E27FC236}">
                  <a16:creationId xmlns:a16="http://schemas.microsoft.com/office/drawing/2014/main" id="{F571FA6F-AC75-405A-BEDC-2C51BE6B73C2}"/>
                </a:ext>
              </a:extLst>
            </p:cNvPr>
            <p:cNvGrpSpPr/>
            <p:nvPr/>
          </p:nvGrpSpPr>
          <p:grpSpPr>
            <a:xfrm>
              <a:off x="3327168" y="1371600"/>
              <a:ext cx="3161759" cy="1447800"/>
              <a:chOff x="3327168" y="1976351"/>
              <a:chExt cx="3161759" cy="1447800"/>
            </a:xfrm>
          </p:grpSpPr>
          <p:sp>
            <p:nvSpPr>
              <p:cNvPr id="4" name="Rectangle 3">
                <a:extLst>
                  <a:ext uri="{FF2B5EF4-FFF2-40B4-BE49-F238E27FC236}">
                    <a16:creationId xmlns:a16="http://schemas.microsoft.com/office/drawing/2014/main" id="{6BB3C0F9-B01E-43B2-BF05-7FC9C79E27D0}"/>
                  </a:ext>
                </a:extLst>
              </p:cNvPr>
              <p:cNvSpPr/>
              <p:nvPr/>
            </p:nvSpPr>
            <p:spPr bwMode="auto">
              <a:xfrm>
                <a:off x="3327168" y="1976351"/>
                <a:ext cx="3161759" cy="144780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br>
                <a:b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Request sign-off</a:t>
                </a:r>
              </a:p>
            </p:txBody>
          </p:sp>
          <p:pic>
            <p:nvPicPr>
              <p:cNvPr id="15" name="Graphic 14" descr="Checkmark">
                <a:extLst>
                  <a:ext uri="{FF2B5EF4-FFF2-40B4-BE49-F238E27FC236}">
                    <a16:creationId xmlns:a16="http://schemas.microsoft.com/office/drawing/2014/main" id="{AE15F307-4B2F-42A6-A779-299548A7AE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4875" y="2226287"/>
                <a:ext cx="466344" cy="466344"/>
              </a:xfrm>
              <a:prstGeom prst="rect">
                <a:avLst/>
              </a:prstGeom>
            </p:spPr>
          </p:pic>
        </p:grpSp>
        <p:sp>
          <p:nvSpPr>
            <p:cNvPr id="30" name="Rectangle 29">
              <a:extLst>
                <a:ext uri="{FF2B5EF4-FFF2-40B4-BE49-F238E27FC236}">
                  <a16:creationId xmlns:a16="http://schemas.microsoft.com/office/drawing/2014/main" id="{3E233636-A08E-402C-A762-C0A5608A109B}"/>
                </a:ext>
              </a:extLst>
            </p:cNvPr>
            <p:cNvSpPr/>
            <p:nvPr/>
          </p:nvSpPr>
          <p:spPr>
            <a:xfrm>
              <a:off x="3327170" y="2927590"/>
              <a:ext cx="1905000"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No set up required approval flow </a:t>
              </a:r>
            </a:p>
          </p:txBody>
        </p:sp>
      </p:grpSp>
      <p:grpSp>
        <p:nvGrpSpPr>
          <p:cNvPr id="14" name="Group 13">
            <a:extLst>
              <a:ext uri="{FF2B5EF4-FFF2-40B4-BE49-F238E27FC236}">
                <a16:creationId xmlns:a16="http://schemas.microsoft.com/office/drawing/2014/main" id="{B036AF16-CFA9-4A5C-81E8-C2B94F6D173D}"/>
              </a:ext>
            </a:extLst>
          </p:cNvPr>
          <p:cNvGrpSpPr/>
          <p:nvPr/>
        </p:nvGrpSpPr>
        <p:grpSpPr>
          <a:xfrm>
            <a:off x="710737" y="1468394"/>
            <a:ext cx="3150063" cy="2141003"/>
            <a:chOff x="710737" y="1371600"/>
            <a:chExt cx="3150063" cy="2141003"/>
          </a:xfrm>
        </p:grpSpPr>
        <p:grpSp>
          <p:nvGrpSpPr>
            <p:cNvPr id="27" name="Group 26">
              <a:extLst>
                <a:ext uri="{FF2B5EF4-FFF2-40B4-BE49-F238E27FC236}">
                  <a16:creationId xmlns:a16="http://schemas.microsoft.com/office/drawing/2014/main" id="{5C009127-21A6-4A7C-983B-53180FF13081}"/>
                </a:ext>
              </a:extLst>
            </p:cNvPr>
            <p:cNvGrpSpPr/>
            <p:nvPr/>
          </p:nvGrpSpPr>
          <p:grpSpPr>
            <a:xfrm>
              <a:off x="710738" y="1371600"/>
              <a:ext cx="3150062" cy="1447800"/>
              <a:chOff x="710738" y="1976351"/>
              <a:chExt cx="3150062" cy="1447800"/>
            </a:xfrm>
          </p:grpSpPr>
          <p:sp>
            <p:nvSpPr>
              <p:cNvPr id="8" name="Rectangle 7">
                <a:extLst>
                  <a:ext uri="{FF2B5EF4-FFF2-40B4-BE49-F238E27FC236}">
                    <a16:creationId xmlns:a16="http://schemas.microsoft.com/office/drawing/2014/main" id="{E8DCB644-F992-41E4-BB33-DCA669CDEAD2}"/>
                  </a:ext>
                </a:extLst>
              </p:cNvPr>
              <p:cNvSpPr/>
              <p:nvPr/>
            </p:nvSpPr>
            <p:spPr bwMode="auto">
              <a:xfrm>
                <a:off x="710738" y="1976351"/>
                <a:ext cx="3150062" cy="144780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br>
                <a:b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Set a reminder</a:t>
                </a:r>
              </a:p>
            </p:txBody>
          </p:sp>
          <p:pic>
            <p:nvPicPr>
              <p:cNvPr id="11" name="Graphic 10" descr="Stopwatch">
                <a:extLst>
                  <a:ext uri="{FF2B5EF4-FFF2-40B4-BE49-F238E27FC236}">
                    <a16:creationId xmlns:a16="http://schemas.microsoft.com/office/drawing/2014/main" id="{C94DC651-12DA-40E1-A95C-9DC6A4C663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54745" y="2230582"/>
                <a:ext cx="462049" cy="462049"/>
              </a:xfrm>
              <a:prstGeom prst="rect">
                <a:avLst/>
              </a:prstGeom>
            </p:spPr>
          </p:pic>
        </p:grpSp>
        <p:sp>
          <p:nvSpPr>
            <p:cNvPr id="31" name="Rectangle 30">
              <a:extLst>
                <a:ext uri="{FF2B5EF4-FFF2-40B4-BE49-F238E27FC236}">
                  <a16:creationId xmlns:a16="http://schemas.microsoft.com/office/drawing/2014/main" id="{B11B4922-06AA-4137-94C4-E6E6C390BC81}"/>
                </a:ext>
              </a:extLst>
            </p:cNvPr>
            <p:cNvSpPr/>
            <p:nvPr/>
          </p:nvSpPr>
          <p:spPr>
            <a:xfrm>
              <a:off x="710737" y="2927828"/>
              <a:ext cx="1905000"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Personal reminder for a date column</a:t>
              </a:r>
            </a:p>
          </p:txBody>
        </p:sp>
      </p:grpSp>
      <p:grpSp>
        <p:nvGrpSpPr>
          <p:cNvPr id="10" name="Group 9">
            <a:extLst>
              <a:ext uri="{FF2B5EF4-FFF2-40B4-BE49-F238E27FC236}">
                <a16:creationId xmlns:a16="http://schemas.microsoft.com/office/drawing/2014/main" id="{99EB625A-F13D-4696-ABA5-2B7B604672F1}"/>
              </a:ext>
            </a:extLst>
          </p:cNvPr>
          <p:cNvGrpSpPr/>
          <p:nvPr/>
        </p:nvGrpSpPr>
        <p:grpSpPr>
          <a:xfrm>
            <a:off x="7986970" y="1471236"/>
            <a:ext cx="3150062" cy="2138161"/>
            <a:chOff x="4698538" y="1371600"/>
            <a:chExt cx="3150062" cy="2138161"/>
          </a:xfrm>
        </p:grpSpPr>
        <p:grpSp>
          <p:nvGrpSpPr>
            <p:cNvPr id="29" name="Group 28">
              <a:extLst>
                <a:ext uri="{FF2B5EF4-FFF2-40B4-BE49-F238E27FC236}">
                  <a16:creationId xmlns:a16="http://schemas.microsoft.com/office/drawing/2014/main" id="{9BAADC38-1E8D-4CAA-BA9D-29B32952B36B}"/>
                </a:ext>
              </a:extLst>
            </p:cNvPr>
            <p:cNvGrpSpPr/>
            <p:nvPr/>
          </p:nvGrpSpPr>
          <p:grpSpPr>
            <a:xfrm>
              <a:off x="4698538" y="1371600"/>
              <a:ext cx="3150062" cy="1447800"/>
              <a:chOff x="4698538" y="1976351"/>
              <a:chExt cx="3150062" cy="1447800"/>
            </a:xfrm>
          </p:grpSpPr>
          <p:sp>
            <p:nvSpPr>
              <p:cNvPr id="6" name="Rectangle 5">
                <a:extLst>
                  <a:ext uri="{FF2B5EF4-FFF2-40B4-BE49-F238E27FC236}">
                    <a16:creationId xmlns:a16="http://schemas.microsoft.com/office/drawing/2014/main" id="{727359B8-2F66-48D5-98AF-1ECAB670DD4F}"/>
                  </a:ext>
                </a:extLst>
              </p:cNvPr>
              <p:cNvSpPr/>
              <p:nvPr/>
            </p:nvSpPr>
            <p:spPr bwMode="auto">
              <a:xfrm>
                <a:off x="4698538" y="1976351"/>
                <a:ext cx="3150062" cy="144780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b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Content approvals</a:t>
                </a:r>
              </a:p>
            </p:txBody>
          </p:sp>
          <p:pic>
            <p:nvPicPr>
              <p:cNvPr id="13" name="Graphic 12" descr="Checklist">
                <a:extLst>
                  <a:ext uri="{FF2B5EF4-FFF2-40B4-BE49-F238E27FC236}">
                    <a16:creationId xmlns:a16="http://schemas.microsoft.com/office/drawing/2014/main" id="{951C3632-7D24-44F1-B901-DF55817F86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40397" y="2226287"/>
                <a:ext cx="466344" cy="466344"/>
              </a:xfrm>
              <a:prstGeom prst="rect">
                <a:avLst/>
              </a:prstGeom>
            </p:spPr>
          </p:pic>
        </p:grpSp>
        <p:sp>
          <p:nvSpPr>
            <p:cNvPr id="32" name="Rectangle 31">
              <a:extLst>
                <a:ext uri="{FF2B5EF4-FFF2-40B4-BE49-F238E27FC236}">
                  <a16:creationId xmlns:a16="http://schemas.microsoft.com/office/drawing/2014/main" id="{8E2057B9-7A06-4BBC-A8DE-FBE3751D2157}"/>
                </a:ext>
              </a:extLst>
            </p:cNvPr>
            <p:cNvSpPr/>
            <p:nvPr/>
          </p:nvSpPr>
          <p:spPr>
            <a:xfrm>
              <a:off x="4698538" y="2924986"/>
              <a:ext cx="2601366"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Require approval for items and docs in your flows</a:t>
              </a:r>
            </a:p>
          </p:txBody>
        </p:sp>
      </p:grpSp>
      <p:grpSp>
        <p:nvGrpSpPr>
          <p:cNvPr id="16" name="Group 15">
            <a:extLst>
              <a:ext uri="{FF2B5EF4-FFF2-40B4-BE49-F238E27FC236}">
                <a16:creationId xmlns:a16="http://schemas.microsoft.com/office/drawing/2014/main" id="{6149FD85-5A51-492B-BBB4-DEE3823F10FA}"/>
              </a:ext>
            </a:extLst>
          </p:cNvPr>
          <p:cNvGrpSpPr/>
          <p:nvPr/>
        </p:nvGrpSpPr>
        <p:grpSpPr>
          <a:xfrm>
            <a:off x="710737" y="4026539"/>
            <a:ext cx="3150061" cy="2136847"/>
            <a:chOff x="710737" y="4038600"/>
            <a:chExt cx="3150061" cy="2136847"/>
          </a:xfrm>
        </p:grpSpPr>
        <p:grpSp>
          <p:nvGrpSpPr>
            <p:cNvPr id="24" name="Group 23">
              <a:extLst>
                <a:ext uri="{FF2B5EF4-FFF2-40B4-BE49-F238E27FC236}">
                  <a16:creationId xmlns:a16="http://schemas.microsoft.com/office/drawing/2014/main" id="{57995327-B619-421B-8F62-15D03D1E70C3}"/>
                </a:ext>
              </a:extLst>
            </p:cNvPr>
            <p:cNvGrpSpPr/>
            <p:nvPr/>
          </p:nvGrpSpPr>
          <p:grpSpPr>
            <a:xfrm>
              <a:off x="710737" y="4038600"/>
              <a:ext cx="3150061" cy="1447800"/>
              <a:chOff x="710737" y="3962400"/>
              <a:chExt cx="3150061" cy="1447800"/>
            </a:xfrm>
          </p:grpSpPr>
          <p:sp>
            <p:nvSpPr>
              <p:cNvPr id="5" name="Rectangle 4">
                <a:extLst>
                  <a:ext uri="{FF2B5EF4-FFF2-40B4-BE49-F238E27FC236}">
                    <a16:creationId xmlns:a16="http://schemas.microsoft.com/office/drawing/2014/main" id="{8455273C-9DF8-4455-AC74-9C5218398190}"/>
                  </a:ext>
                </a:extLst>
              </p:cNvPr>
              <p:cNvSpPr/>
              <p:nvPr/>
            </p:nvSpPr>
            <p:spPr bwMode="auto">
              <a:xfrm>
                <a:off x="710737" y="3962400"/>
                <a:ext cx="3150061" cy="144780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b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Page approvals</a:t>
                </a:r>
              </a:p>
            </p:txBody>
          </p:sp>
          <p:pic>
            <p:nvPicPr>
              <p:cNvPr id="17" name="Graphic 16" descr="Newspaper">
                <a:extLst>
                  <a:ext uri="{FF2B5EF4-FFF2-40B4-BE49-F238E27FC236}">
                    <a16:creationId xmlns:a16="http://schemas.microsoft.com/office/drawing/2014/main" id="{6838AAA3-04AA-4182-8290-CEBA288600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52595" y="4282302"/>
                <a:ext cx="466344" cy="466344"/>
              </a:xfrm>
              <a:prstGeom prst="rect">
                <a:avLst/>
              </a:prstGeom>
            </p:spPr>
          </p:pic>
        </p:grpSp>
        <p:sp>
          <p:nvSpPr>
            <p:cNvPr id="33" name="Rectangle 32">
              <a:extLst>
                <a:ext uri="{FF2B5EF4-FFF2-40B4-BE49-F238E27FC236}">
                  <a16:creationId xmlns:a16="http://schemas.microsoft.com/office/drawing/2014/main" id="{ED472349-D2B9-4E82-A52A-7922459CE5E7}"/>
                </a:ext>
              </a:extLst>
            </p:cNvPr>
            <p:cNvSpPr/>
            <p:nvPr/>
          </p:nvSpPr>
          <p:spPr>
            <a:xfrm>
              <a:off x="710738" y="5590672"/>
              <a:ext cx="2333798"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Require approval for SharePoint pages</a:t>
              </a:r>
            </a:p>
          </p:txBody>
        </p:sp>
      </p:grpSp>
      <p:grpSp>
        <p:nvGrpSpPr>
          <p:cNvPr id="18" name="Group 17">
            <a:extLst>
              <a:ext uri="{FF2B5EF4-FFF2-40B4-BE49-F238E27FC236}">
                <a16:creationId xmlns:a16="http://schemas.microsoft.com/office/drawing/2014/main" id="{3CECA875-1743-4DB6-9F66-B2110884D254}"/>
              </a:ext>
            </a:extLst>
          </p:cNvPr>
          <p:cNvGrpSpPr/>
          <p:nvPr/>
        </p:nvGrpSpPr>
        <p:grpSpPr>
          <a:xfrm>
            <a:off x="4341890" y="4026539"/>
            <a:ext cx="3161757" cy="2136846"/>
            <a:chOff x="3327168" y="4038600"/>
            <a:chExt cx="3161757" cy="2136846"/>
          </a:xfrm>
        </p:grpSpPr>
        <p:grpSp>
          <p:nvGrpSpPr>
            <p:cNvPr id="25" name="Group 24">
              <a:extLst>
                <a:ext uri="{FF2B5EF4-FFF2-40B4-BE49-F238E27FC236}">
                  <a16:creationId xmlns:a16="http://schemas.microsoft.com/office/drawing/2014/main" id="{4C41B47C-8946-47DB-A901-C4E4773A7BD2}"/>
                </a:ext>
              </a:extLst>
            </p:cNvPr>
            <p:cNvGrpSpPr/>
            <p:nvPr/>
          </p:nvGrpSpPr>
          <p:grpSpPr>
            <a:xfrm>
              <a:off x="3327168" y="4038600"/>
              <a:ext cx="3161757" cy="1447800"/>
              <a:chOff x="3327168" y="3962400"/>
              <a:chExt cx="3161757" cy="1447800"/>
            </a:xfrm>
          </p:grpSpPr>
          <p:sp>
            <p:nvSpPr>
              <p:cNvPr id="7" name="Rectangle 6">
                <a:extLst>
                  <a:ext uri="{FF2B5EF4-FFF2-40B4-BE49-F238E27FC236}">
                    <a16:creationId xmlns:a16="http://schemas.microsoft.com/office/drawing/2014/main" id="{7033D403-4945-41EB-ADD6-ABF43B36B541}"/>
                  </a:ext>
                </a:extLst>
              </p:cNvPr>
              <p:cNvSpPr/>
              <p:nvPr/>
            </p:nvSpPr>
            <p:spPr bwMode="auto">
              <a:xfrm>
                <a:off x="3327168" y="3962400"/>
                <a:ext cx="3161757" cy="144780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b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Hub join approvals</a:t>
                </a:r>
              </a:p>
            </p:txBody>
          </p:sp>
          <p:pic>
            <p:nvPicPr>
              <p:cNvPr id="21" name="Graphic 20" descr="Network">
                <a:extLst>
                  <a:ext uri="{FF2B5EF4-FFF2-40B4-BE49-F238E27FC236}">
                    <a16:creationId xmlns:a16="http://schemas.microsoft.com/office/drawing/2014/main" id="{754C5B40-E1A2-403E-A89E-48CCB350162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74874" y="4282302"/>
                <a:ext cx="466344" cy="466344"/>
              </a:xfrm>
              <a:prstGeom prst="rect">
                <a:avLst/>
              </a:prstGeom>
            </p:spPr>
          </p:pic>
        </p:grpSp>
        <p:sp>
          <p:nvSpPr>
            <p:cNvPr id="34" name="Rectangle 33">
              <a:extLst>
                <a:ext uri="{FF2B5EF4-FFF2-40B4-BE49-F238E27FC236}">
                  <a16:creationId xmlns:a16="http://schemas.microsoft.com/office/drawing/2014/main" id="{9999C689-31A3-405D-828D-766A920E43B9}"/>
                </a:ext>
              </a:extLst>
            </p:cNvPr>
            <p:cNvSpPr/>
            <p:nvPr/>
          </p:nvSpPr>
          <p:spPr>
            <a:xfrm>
              <a:off x="3327168" y="5590671"/>
              <a:ext cx="2474545"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Require approval for hub site associations</a:t>
              </a:r>
            </a:p>
          </p:txBody>
        </p:sp>
      </p:grpSp>
      <p:grpSp>
        <p:nvGrpSpPr>
          <p:cNvPr id="19" name="Group 18">
            <a:extLst>
              <a:ext uri="{FF2B5EF4-FFF2-40B4-BE49-F238E27FC236}">
                <a16:creationId xmlns:a16="http://schemas.microsoft.com/office/drawing/2014/main" id="{113EDC99-2B80-4C7A-BA85-5FDF1E3EA9FA}"/>
              </a:ext>
            </a:extLst>
          </p:cNvPr>
          <p:cNvGrpSpPr/>
          <p:nvPr/>
        </p:nvGrpSpPr>
        <p:grpSpPr>
          <a:xfrm>
            <a:off x="7986969" y="4026539"/>
            <a:ext cx="3150061" cy="2136845"/>
            <a:chOff x="5943599" y="4038600"/>
            <a:chExt cx="3150061" cy="2136845"/>
          </a:xfrm>
        </p:grpSpPr>
        <p:grpSp>
          <p:nvGrpSpPr>
            <p:cNvPr id="26" name="Group 25">
              <a:extLst>
                <a:ext uri="{FF2B5EF4-FFF2-40B4-BE49-F238E27FC236}">
                  <a16:creationId xmlns:a16="http://schemas.microsoft.com/office/drawing/2014/main" id="{CB422148-7F12-4877-A04A-0122491C0073}"/>
                </a:ext>
              </a:extLst>
            </p:cNvPr>
            <p:cNvGrpSpPr/>
            <p:nvPr/>
          </p:nvGrpSpPr>
          <p:grpSpPr>
            <a:xfrm>
              <a:off x="5943599" y="4038600"/>
              <a:ext cx="3150061" cy="1447800"/>
              <a:chOff x="5943599" y="3962400"/>
              <a:chExt cx="3150061" cy="1447800"/>
            </a:xfrm>
          </p:grpSpPr>
          <p:sp>
            <p:nvSpPr>
              <p:cNvPr id="9" name="Rectangle 8">
                <a:extLst>
                  <a:ext uri="{FF2B5EF4-FFF2-40B4-BE49-F238E27FC236}">
                    <a16:creationId xmlns:a16="http://schemas.microsoft.com/office/drawing/2014/main" id="{C0FB8FF3-9155-456F-95F5-E01B41ADB6D3}"/>
                  </a:ext>
                </a:extLst>
              </p:cNvPr>
              <p:cNvSpPr/>
              <p:nvPr/>
            </p:nvSpPr>
            <p:spPr bwMode="auto">
              <a:xfrm>
                <a:off x="5943599" y="3962400"/>
                <a:ext cx="3150061" cy="144780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b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b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rPr>
                  <a:t>Create your own…</a:t>
                </a:r>
              </a:p>
            </p:txBody>
          </p:sp>
          <p:pic>
            <p:nvPicPr>
              <p:cNvPr id="23" name="Graphic 22" descr="Head with Gears">
                <a:extLst>
                  <a:ext uri="{FF2B5EF4-FFF2-40B4-BE49-F238E27FC236}">
                    <a16:creationId xmlns:a16="http://schemas.microsoft.com/office/drawing/2014/main" id="{39408DBA-04C0-46E8-B380-9344B7B268B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285457" y="4282302"/>
                <a:ext cx="466344" cy="466344"/>
              </a:xfrm>
              <a:prstGeom prst="rect">
                <a:avLst/>
              </a:prstGeom>
            </p:spPr>
          </p:pic>
        </p:grpSp>
        <p:sp>
          <p:nvSpPr>
            <p:cNvPr id="35" name="Rectangle 34">
              <a:extLst>
                <a:ext uri="{FF2B5EF4-FFF2-40B4-BE49-F238E27FC236}">
                  <a16:creationId xmlns:a16="http://schemas.microsoft.com/office/drawing/2014/main" id="{2AC5ABCA-6AB4-4D9E-9E63-650C6F58241B}"/>
                </a:ext>
              </a:extLst>
            </p:cNvPr>
            <p:cNvSpPr/>
            <p:nvPr/>
          </p:nvSpPr>
          <p:spPr>
            <a:xfrm>
              <a:off x="5943599" y="5590670"/>
              <a:ext cx="2474545" cy="584775"/>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Segoe UI"/>
                  <a:ea typeface="+mn-ea"/>
                  <a:cs typeface="+mn-cs"/>
                </a:rPr>
                <a:t>Create your own flow from templates</a:t>
              </a:r>
            </a:p>
          </p:txBody>
        </p:sp>
      </p:grpSp>
    </p:spTree>
    <p:extLst>
      <p:ext uri="{BB962C8B-B14F-4D97-AF65-F5344CB8AC3E}">
        <p14:creationId xmlns:p14="http://schemas.microsoft.com/office/powerpoint/2010/main" val="38400966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D59EC8-41E7-4EB9-9A8E-9A4B4275C4A6}"/>
              </a:ext>
            </a:extLst>
          </p:cNvPr>
          <p:cNvSpPr>
            <a:spLocks noGrp="1"/>
          </p:cNvSpPr>
          <p:nvPr>
            <p:ph type="title"/>
          </p:nvPr>
        </p:nvSpPr>
        <p:spPr>
          <a:xfrm>
            <a:off x="43011" y="68528"/>
            <a:ext cx="11018520" cy="1107996"/>
          </a:xfrm>
        </p:spPr>
        <p:txBody>
          <a:bodyPr>
            <a:normAutofit/>
          </a:bodyPr>
          <a:lstStyle/>
          <a:p>
            <a:r>
              <a:rPr lang="en-US" sz="4000" dirty="0"/>
              <a:t>Power Automate Connectivity</a:t>
            </a:r>
          </a:p>
        </p:txBody>
      </p:sp>
      <p:grpSp>
        <p:nvGrpSpPr>
          <p:cNvPr id="15" name="Group 14">
            <a:extLst>
              <a:ext uri="{FF2B5EF4-FFF2-40B4-BE49-F238E27FC236}">
                <a16:creationId xmlns:a16="http://schemas.microsoft.com/office/drawing/2014/main" id="{DCE18C02-DA27-4F66-8EDF-5F0C527F5AC1}"/>
              </a:ext>
            </a:extLst>
          </p:cNvPr>
          <p:cNvGrpSpPr/>
          <p:nvPr/>
        </p:nvGrpSpPr>
        <p:grpSpPr>
          <a:xfrm>
            <a:off x="6313311" y="121791"/>
            <a:ext cx="5900129" cy="6728589"/>
            <a:chOff x="6264977" y="132126"/>
            <a:chExt cx="5900129" cy="6728589"/>
          </a:xfrm>
        </p:grpSpPr>
        <p:pic>
          <p:nvPicPr>
            <p:cNvPr id="6" name="Picture 5">
              <a:extLst>
                <a:ext uri="{FF2B5EF4-FFF2-40B4-BE49-F238E27FC236}">
                  <a16:creationId xmlns:a16="http://schemas.microsoft.com/office/drawing/2014/main" id="{B7EAF48B-D9A0-467E-A502-C1A7378D5909}"/>
                </a:ext>
              </a:extLst>
            </p:cNvPr>
            <p:cNvPicPr>
              <a:picLocks noChangeAspect="1"/>
            </p:cNvPicPr>
            <p:nvPr/>
          </p:nvPicPr>
          <p:blipFill>
            <a:blip r:embed="rId3"/>
            <a:stretch>
              <a:fillRect/>
            </a:stretch>
          </p:blipFill>
          <p:spPr>
            <a:xfrm>
              <a:off x="6264977" y="132126"/>
              <a:ext cx="2984363" cy="2617808"/>
            </a:xfrm>
            <a:prstGeom prst="rect">
              <a:avLst/>
            </a:prstGeom>
          </p:spPr>
        </p:pic>
        <p:pic>
          <p:nvPicPr>
            <p:cNvPr id="7" name="Picture 6">
              <a:extLst>
                <a:ext uri="{FF2B5EF4-FFF2-40B4-BE49-F238E27FC236}">
                  <a16:creationId xmlns:a16="http://schemas.microsoft.com/office/drawing/2014/main" id="{34FD0308-C4A3-4A60-9F18-D3CCB39C7BBD}"/>
                </a:ext>
              </a:extLst>
            </p:cNvPr>
            <p:cNvPicPr>
              <a:picLocks noChangeAspect="1"/>
            </p:cNvPicPr>
            <p:nvPr/>
          </p:nvPicPr>
          <p:blipFill>
            <a:blip r:embed="rId4"/>
            <a:stretch>
              <a:fillRect/>
            </a:stretch>
          </p:blipFill>
          <p:spPr>
            <a:xfrm>
              <a:off x="9169846" y="132126"/>
              <a:ext cx="2995260" cy="2617808"/>
            </a:xfrm>
            <a:prstGeom prst="rect">
              <a:avLst/>
            </a:prstGeom>
          </p:spPr>
        </p:pic>
        <p:pic>
          <p:nvPicPr>
            <p:cNvPr id="8" name="Picture 7">
              <a:extLst>
                <a:ext uri="{FF2B5EF4-FFF2-40B4-BE49-F238E27FC236}">
                  <a16:creationId xmlns:a16="http://schemas.microsoft.com/office/drawing/2014/main" id="{B05FD433-FCA1-4B2F-9AAF-695660A8B489}"/>
                </a:ext>
              </a:extLst>
            </p:cNvPr>
            <p:cNvPicPr>
              <a:picLocks noChangeAspect="1"/>
            </p:cNvPicPr>
            <p:nvPr/>
          </p:nvPicPr>
          <p:blipFill>
            <a:blip r:embed="rId5"/>
            <a:stretch>
              <a:fillRect/>
            </a:stretch>
          </p:blipFill>
          <p:spPr>
            <a:xfrm>
              <a:off x="6264977" y="2711323"/>
              <a:ext cx="2953428" cy="2612184"/>
            </a:xfrm>
            <a:prstGeom prst="rect">
              <a:avLst/>
            </a:prstGeom>
          </p:spPr>
        </p:pic>
        <p:pic>
          <p:nvPicPr>
            <p:cNvPr id="9" name="Picture 8">
              <a:extLst>
                <a:ext uri="{FF2B5EF4-FFF2-40B4-BE49-F238E27FC236}">
                  <a16:creationId xmlns:a16="http://schemas.microsoft.com/office/drawing/2014/main" id="{067CEDF4-6685-4DC7-8397-9BCFD23ED207}"/>
                </a:ext>
              </a:extLst>
            </p:cNvPr>
            <p:cNvPicPr>
              <a:picLocks noChangeAspect="1"/>
            </p:cNvPicPr>
            <p:nvPr/>
          </p:nvPicPr>
          <p:blipFill>
            <a:blip r:embed="rId6"/>
            <a:stretch>
              <a:fillRect/>
            </a:stretch>
          </p:blipFill>
          <p:spPr>
            <a:xfrm>
              <a:off x="9218405" y="2714135"/>
              <a:ext cx="2907501" cy="2612184"/>
            </a:xfrm>
            <a:prstGeom prst="rect">
              <a:avLst/>
            </a:prstGeom>
          </p:spPr>
        </p:pic>
        <p:pic>
          <p:nvPicPr>
            <p:cNvPr id="11" name="Picture 10">
              <a:extLst>
                <a:ext uri="{FF2B5EF4-FFF2-40B4-BE49-F238E27FC236}">
                  <a16:creationId xmlns:a16="http://schemas.microsoft.com/office/drawing/2014/main" id="{C462CA92-2A27-4B45-92AA-05CB753CF545}"/>
                </a:ext>
              </a:extLst>
            </p:cNvPr>
            <p:cNvPicPr>
              <a:picLocks noChangeAspect="1"/>
            </p:cNvPicPr>
            <p:nvPr/>
          </p:nvPicPr>
          <p:blipFill>
            <a:blip r:embed="rId7"/>
            <a:stretch>
              <a:fillRect/>
            </a:stretch>
          </p:blipFill>
          <p:spPr>
            <a:xfrm>
              <a:off x="9169846" y="5285749"/>
              <a:ext cx="2953429" cy="1039846"/>
            </a:xfrm>
            <a:prstGeom prst="rect">
              <a:avLst/>
            </a:prstGeom>
          </p:spPr>
        </p:pic>
        <p:pic>
          <p:nvPicPr>
            <p:cNvPr id="12" name="Picture 11">
              <a:extLst>
                <a:ext uri="{FF2B5EF4-FFF2-40B4-BE49-F238E27FC236}">
                  <a16:creationId xmlns:a16="http://schemas.microsoft.com/office/drawing/2014/main" id="{15214397-F266-4AF3-A1E7-360E55603D23}"/>
                </a:ext>
              </a:extLst>
            </p:cNvPr>
            <p:cNvPicPr>
              <a:picLocks noChangeAspect="1"/>
            </p:cNvPicPr>
            <p:nvPr/>
          </p:nvPicPr>
          <p:blipFill>
            <a:blip r:embed="rId8"/>
            <a:stretch>
              <a:fillRect/>
            </a:stretch>
          </p:blipFill>
          <p:spPr>
            <a:xfrm>
              <a:off x="6264977" y="5292519"/>
              <a:ext cx="2904870" cy="1531633"/>
            </a:xfrm>
            <a:prstGeom prst="rect">
              <a:avLst/>
            </a:prstGeom>
          </p:spPr>
        </p:pic>
        <p:pic>
          <p:nvPicPr>
            <p:cNvPr id="14" name="Picture 13">
              <a:extLst>
                <a:ext uri="{FF2B5EF4-FFF2-40B4-BE49-F238E27FC236}">
                  <a16:creationId xmlns:a16="http://schemas.microsoft.com/office/drawing/2014/main" id="{DFA90ECB-3D5F-4349-A184-F937ACAC2A91}"/>
                </a:ext>
              </a:extLst>
            </p:cNvPr>
            <p:cNvPicPr>
              <a:picLocks noChangeAspect="1"/>
            </p:cNvPicPr>
            <p:nvPr/>
          </p:nvPicPr>
          <p:blipFill>
            <a:blip r:embed="rId9"/>
            <a:stretch>
              <a:fillRect/>
            </a:stretch>
          </p:blipFill>
          <p:spPr>
            <a:xfrm>
              <a:off x="6688669" y="6353284"/>
              <a:ext cx="1065848" cy="507431"/>
            </a:xfrm>
            <a:prstGeom prst="rect">
              <a:avLst/>
            </a:prstGeom>
          </p:spPr>
        </p:pic>
      </p:grpSp>
      <p:pic>
        <p:nvPicPr>
          <p:cNvPr id="4" name="Picture 3">
            <a:extLst>
              <a:ext uri="{FF2B5EF4-FFF2-40B4-BE49-F238E27FC236}">
                <a16:creationId xmlns:a16="http://schemas.microsoft.com/office/drawing/2014/main" id="{7CDE74DB-1A2E-468A-A605-28462B9953B3}"/>
              </a:ext>
            </a:extLst>
          </p:cNvPr>
          <p:cNvPicPr>
            <a:picLocks noChangeAspect="1"/>
          </p:cNvPicPr>
          <p:nvPr/>
        </p:nvPicPr>
        <p:blipFill>
          <a:blip r:embed="rId10"/>
          <a:stretch>
            <a:fillRect/>
          </a:stretch>
        </p:blipFill>
        <p:spPr>
          <a:xfrm>
            <a:off x="7802851" y="6296563"/>
            <a:ext cx="4368758" cy="705709"/>
          </a:xfrm>
          <a:prstGeom prst="rect">
            <a:avLst/>
          </a:prstGeom>
        </p:spPr>
      </p:pic>
      <p:pic>
        <p:nvPicPr>
          <p:cNvPr id="13" name="Picture 12">
            <a:extLst>
              <a:ext uri="{FF2B5EF4-FFF2-40B4-BE49-F238E27FC236}">
                <a16:creationId xmlns:a16="http://schemas.microsoft.com/office/drawing/2014/main" id="{180EE894-2635-4B1A-B57B-B6FBE5AAECAE}"/>
              </a:ext>
            </a:extLst>
          </p:cNvPr>
          <p:cNvPicPr>
            <a:picLocks noChangeAspect="1"/>
          </p:cNvPicPr>
          <p:nvPr/>
        </p:nvPicPr>
        <p:blipFill>
          <a:blip r:embed="rId10"/>
          <a:stretch>
            <a:fillRect/>
          </a:stretch>
        </p:blipFill>
        <p:spPr>
          <a:xfrm>
            <a:off x="6313311" y="6777990"/>
            <a:ext cx="4368758" cy="296672"/>
          </a:xfrm>
          <a:prstGeom prst="rect">
            <a:avLst/>
          </a:prstGeom>
        </p:spPr>
      </p:pic>
      <p:sp>
        <p:nvSpPr>
          <p:cNvPr id="5" name="Rectangle: Rounded Corners 4">
            <a:extLst>
              <a:ext uri="{FF2B5EF4-FFF2-40B4-BE49-F238E27FC236}">
                <a16:creationId xmlns:a16="http://schemas.microsoft.com/office/drawing/2014/main" id="{1E510D29-B29A-41A7-A31B-36C80FA545F6}"/>
              </a:ext>
            </a:extLst>
          </p:cNvPr>
          <p:cNvSpPr/>
          <p:nvPr/>
        </p:nvSpPr>
        <p:spPr>
          <a:xfrm>
            <a:off x="382089" y="1508445"/>
            <a:ext cx="5224682" cy="11759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ilt-in connectivity to 300+ SaaS cloud services, file providers, databases, web APIs, productivity apps, and more</a:t>
            </a:r>
          </a:p>
        </p:txBody>
      </p:sp>
      <p:sp>
        <p:nvSpPr>
          <p:cNvPr id="10" name="Rectangle: Rounded Corners 9">
            <a:extLst>
              <a:ext uri="{FF2B5EF4-FFF2-40B4-BE49-F238E27FC236}">
                <a16:creationId xmlns:a16="http://schemas.microsoft.com/office/drawing/2014/main" id="{AC8BCB20-E258-425E-9211-58A98AF5C44B}"/>
              </a:ext>
            </a:extLst>
          </p:cNvPr>
          <p:cNvSpPr/>
          <p:nvPr/>
        </p:nvSpPr>
        <p:spPr>
          <a:xfrm>
            <a:off x="430534" y="4761583"/>
            <a:ext cx="5224682" cy="11759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nect to on-premises systems via Data Gateway </a:t>
            </a:r>
          </a:p>
        </p:txBody>
      </p:sp>
      <p:sp>
        <p:nvSpPr>
          <p:cNvPr id="20" name="Rectangle: Rounded Corners 19">
            <a:extLst>
              <a:ext uri="{FF2B5EF4-FFF2-40B4-BE49-F238E27FC236}">
                <a16:creationId xmlns:a16="http://schemas.microsoft.com/office/drawing/2014/main" id="{4AF4C196-9306-4ABB-862E-B4932F76F1BB}"/>
              </a:ext>
            </a:extLst>
          </p:cNvPr>
          <p:cNvSpPr/>
          <p:nvPr/>
        </p:nvSpPr>
        <p:spPr>
          <a:xfrm>
            <a:off x="430534" y="3055533"/>
            <a:ext cx="5224682" cy="11927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uggable extensibility via Custom Connectors to integrate existing LOB systems</a:t>
            </a:r>
          </a:p>
        </p:txBody>
      </p:sp>
    </p:spTree>
    <p:extLst>
      <p:ext uri="{BB962C8B-B14F-4D97-AF65-F5344CB8AC3E}">
        <p14:creationId xmlns:p14="http://schemas.microsoft.com/office/powerpoint/2010/main" val="27574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63998-8023-49D2-8E3C-628DDF606911}"/>
              </a:ext>
            </a:extLst>
          </p:cNvPr>
          <p:cNvSpPr>
            <a:spLocks noGrp="1"/>
          </p:cNvSpPr>
          <p:nvPr>
            <p:ph type="title"/>
          </p:nvPr>
        </p:nvSpPr>
        <p:spPr/>
        <p:txBody>
          <a:bodyPr/>
          <a:lstStyle/>
          <a:p>
            <a:r>
              <a:rPr lang="en-US" dirty="0"/>
              <a:t>Power Automate Mobile App</a:t>
            </a:r>
          </a:p>
        </p:txBody>
      </p:sp>
      <p:pic>
        <p:nvPicPr>
          <p:cNvPr id="4" name="Picture 3">
            <a:extLst>
              <a:ext uri="{FF2B5EF4-FFF2-40B4-BE49-F238E27FC236}">
                <a16:creationId xmlns:a16="http://schemas.microsoft.com/office/drawing/2014/main" id="{1A116753-C4B6-4E92-ACC8-D7A79C9A5091}"/>
              </a:ext>
            </a:extLst>
          </p:cNvPr>
          <p:cNvPicPr>
            <a:picLocks noChangeAspect="1"/>
          </p:cNvPicPr>
          <p:nvPr/>
        </p:nvPicPr>
        <p:blipFill>
          <a:blip r:embed="rId2"/>
          <a:stretch>
            <a:fillRect/>
          </a:stretch>
        </p:blipFill>
        <p:spPr>
          <a:xfrm>
            <a:off x="8786717" y="1928718"/>
            <a:ext cx="2920439" cy="2867340"/>
          </a:xfrm>
          <a:prstGeom prst="rect">
            <a:avLst/>
          </a:prstGeom>
        </p:spPr>
      </p:pic>
      <p:sp>
        <p:nvSpPr>
          <p:cNvPr id="6" name="TextBox 5">
            <a:extLst>
              <a:ext uri="{FF2B5EF4-FFF2-40B4-BE49-F238E27FC236}">
                <a16:creationId xmlns:a16="http://schemas.microsoft.com/office/drawing/2014/main" id="{4FDD7739-BFE9-4D1D-B73D-1EAC83D96B7F}"/>
              </a:ext>
            </a:extLst>
          </p:cNvPr>
          <p:cNvSpPr txBox="1"/>
          <p:nvPr/>
        </p:nvSpPr>
        <p:spPr>
          <a:xfrm>
            <a:off x="891690" y="2145282"/>
            <a:ext cx="7895027" cy="2308324"/>
          </a:xfrm>
          <a:prstGeom prst="rect">
            <a:avLst/>
          </a:prstGeom>
          <a:noFill/>
        </p:spPr>
        <p:txBody>
          <a:bodyPr wrap="square">
            <a:spAutoFit/>
          </a:bodyPr>
          <a:lstStyle/>
          <a:p>
            <a:r>
              <a:rPr lang="en-US" sz="2400" dirty="0"/>
              <a:t>Download the Power Automate mobile app for Android, iOS, or Windows Phone. With this app, you can:</a:t>
            </a:r>
          </a:p>
          <a:p>
            <a:endParaRPr lang="en-US" sz="2400" dirty="0"/>
          </a:p>
          <a:p>
            <a:pPr marL="285750" indent="-285750">
              <a:buFont typeface="Arial" panose="020B0604020202020204" pitchFamily="34" charset="0"/>
              <a:buChar char="•"/>
            </a:pPr>
            <a:r>
              <a:rPr lang="en-US" sz="2400" dirty="0"/>
              <a:t>Monitor flow activity</a:t>
            </a:r>
          </a:p>
          <a:p>
            <a:pPr marL="285750" indent="-285750">
              <a:buFont typeface="Arial" panose="020B0604020202020204" pitchFamily="34" charset="0"/>
              <a:buChar char="•"/>
            </a:pPr>
            <a:r>
              <a:rPr lang="en-US" sz="2400" dirty="0"/>
              <a:t>Manage your flows </a:t>
            </a:r>
          </a:p>
          <a:p>
            <a:pPr marL="285750" indent="-285750">
              <a:buFont typeface="Arial" panose="020B0604020202020204" pitchFamily="34" charset="0"/>
              <a:buChar char="•"/>
            </a:pPr>
            <a:r>
              <a:rPr lang="en-US" sz="2400" dirty="0"/>
              <a:t>Create flows from templates</a:t>
            </a:r>
          </a:p>
        </p:txBody>
      </p:sp>
    </p:spTree>
    <p:extLst>
      <p:ext uri="{BB962C8B-B14F-4D97-AF65-F5344CB8AC3E}">
        <p14:creationId xmlns:p14="http://schemas.microsoft.com/office/powerpoint/2010/main" val="553385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2583350-5E6E-4ADA-9876-FC67F531BE21}"/>
              </a:ext>
            </a:extLst>
          </p:cNvPr>
          <p:cNvSpPr>
            <a:spLocks noGrp="1"/>
          </p:cNvSpPr>
          <p:nvPr>
            <p:ph type="title"/>
          </p:nvPr>
        </p:nvSpPr>
        <p:spPr>
          <a:xfrm>
            <a:off x="341646" y="682721"/>
            <a:ext cx="11624277" cy="425950"/>
          </a:xfrm>
        </p:spPr>
        <p:txBody>
          <a:bodyPr vert="horz" wrap="square" lIns="0" tIns="0" rIns="0" bIns="0" rtlCol="0" anchor="t">
            <a:spAutoFit/>
          </a:bodyPr>
          <a:lstStyle/>
          <a:p>
            <a:pPr>
              <a:lnSpc>
                <a:spcPts val="3137"/>
              </a:lnSpc>
            </a:pPr>
            <a:r>
              <a:rPr lang="en-US" dirty="0">
                <a:solidFill>
                  <a:schemeClr val="tx1"/>
                </a:solidFill>
                <a:latin typeface="Segoe UI Semilight" panose="020B0402040204020203" pitchFamily="34" charset="0"/>
                <a:cs typeface="Segoe UI Semilight" panose="020B0402040204020203" pitchFamily="34" charset="0"/>
              </a:rPr>
              <a:t>Office 365 licenses that include Power Automate</a:t>
            </a:r>
          </a:p>
        </p:txBody>
      </p:sp>
      <p:sp>
        <p:nvSpPr>
          <p:cNvPr id="2" name="TextBox 1">
            <a:extLst>
              <a:ext uri="{FF2B5EF4-FFF2-40B4-BE49-F238E27FC236}">
                <a16:creationId xmlns:a16="http://schemas.microsoft.com/office/drawing/2014/main" id="{EE3CA1C0-6314-4B75-90CF-C5C576E09D3E}"/>
              </a:ext>
            </a:extLst>
          </p:cNvPr>
          <p:cNvSpPr txBox="1"/>
          <p:nvPr/>
        </p:nvSpPr>
        <p:spPr>
          <a:xfrm>
            <a:off x="486980" y="1591671"/>
            <a:ext cx="5867868" cy="4001095"/>
          </a:xfrm>
          <a:prstGeom prst="rect">
            <a:avLst/>
          </a:prstGeom>
          <a:noFill/>
        </p:spPr>
        <p:txBody>
          <a:bodyPr wrap="square" lIns="0" tIns="0" rIns="0" bIns="0" rtlCol="0">
            <a:spAutoFit/>
          </a:bodyPr>
          <a:lstStyle/>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Business Essentials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5 for Students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Business Premium</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ducation E3 for Faculty</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1 for Faculty</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ducation E3 for Students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1 for Students</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ducation for Homeschool for Faculty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1 Plus for Faculty</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ducation for Homeschool for Students</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1 Plus for Students</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nterprise E1 </a:t>
            </a:r>
          </a:p>
          <a:p>
            <a:pPr marL="342900" indent="-342900" algn="l">
              <a:buFont typeface="Arial" panose="020B0604020202020204" pitchFamily="34" charset="0"/>
              <a:buChar char="•"/>
            </a:pPr>
            <a:endParaRPr lang="en-US" sz="20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p:txBody>
      </p:sp>
      <p:sp>
        <p:nvSpPr>
          <p:cNvPr id="5" name="TextBox 4">
            <a:extLst>
              <a:ext uri="{FF2B5EF4-FFF2-40B4-BE49-F238E27FC236}">
                <a16:creationId xmlns:a16="http://schemas.microsoft.com/office/drawing/2014/main" id="{260A2473-E581-4977-8370-FDB2AD6B6B0A}"/>
              </a:ext>
            </a:extLst>
          </p:cNvPr>
          <p:cNvSpPr txBox="1"/>
          <p:nvPr/>
        </p:nvSpPr>
        <p:spPr>
          <a:xfrm>
            <a:off x="6444514" y="1512948"/>
            <a:ext cx="5613556" cy="4001095"/>
          </a:xfrm>
          <a:prstGeom prst="rect">
            <a:avLst/>
          </a:prstGeom>
          <a:noFill/>
        </p:spPr>
        <p:txBody>
          <a:bodyPr wrap="square" lIns="0" tIns="0" rIns="0" bIns="0" rtlCol="0">
            <a:spAutoFit/>
          </a:bodyPr>
          <a:lstStyle/>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3 for Faculty</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nterprise E2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3 for Students</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nterprise E3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3 for Student Use Benefit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nterprise E3 Developer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5 for Student Use Benefit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nterprise E3 without ProPlus </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5</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nterprise E5</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A5 for Faculty</a:t>
            </a:r>
          </a:p>
          <a:p>
            <a:pPr marL="285750" indent="-285750" fontAlgn="t">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Office 365 Enterprise F1 </a:t>
            </a:r>
          </a:p>
          <a:p>
            <a:pPr algn="l"/>
            <a:endParaRPr lang="en-US" sz="20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1283738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AF822-9C40-4382-8A19-EC83DF629052}"/>
              </a:ext>
            </a:extLst>
          </p:cNvPr>
          <p:cNvSpPr>
            <a:spLocks noGrp="1"/>
          </p:cNvSpPr>
          <p:nvPr>
            <p:ph type="title"/>
          </p:nvPr>
        </p:nvSpPr>
        <p:spPr>
          <a:xfrm>
            <a:off x="586740" y="405428"/>
            <a:ext cx="11018520" cy="397545"/>
          </a:xfrm>
        </p:spPr>
        <p:txBody>
          <a:bodyPr>
            <a:normAutofit fontScale="90000"/>
          </a:bodyPr>
          <a:lstStyle/>
          <a:p>
            <a:pPr defTabSz="914367">
              <a:lnSpc>
                <a:spcPts val="3137"/>
              </a:lnSpc>
              <a:defRPr/>
            </a:pPr>
            <a:r>
              <a:rPr lang="en-US" spc="-49" dirty="0">
                <a:solidFill>
                  <a:srgbClr val="3C3C41"/>
                </a:solidFill>
              </a:rPr>
              <a:t>Summary of Power Automate for Office 365</a:t>
            </a:r>
          </a:p>
        </p:txBody>
      </p:sp>
      <p:graphicFrame>
        <p:nvGraphicFramePr>
          <p:cNvPr id="6" name="Table 5">
            <a:extLst>
              <a:ext uri="{FF2B5EF4-FFF2-40B4-BE49-F238E27FC236}">
                <a16:creationId xmlns:a16="http://schemas.microsoft.com/office/drawing/2014/main" id="{149BBC4B-987B-4BEC-A1D3-7F67FC743A81}"/>
              </a:ext>
            </a:extLst>
          </p:cNvPr>
          <p:cNvGraphicFramePr>
            <a:graphicFrameLocks noGrp="1"/>
          </p:cNvGraphicFramePr>
          <p:nvPr/>
        </p:nvGraphicFramePr>
        <p:xfrm>
          <a:off x="586740" y="1180509"/>
          <a:ext cx="11018519" cy="4496981"/>
        </p:xfrm>
        <a:graphic>
          <a:graphicData uri="http://schemas.openxmlformats.org/drawingml/2006/table">
            <a:tbl>
              <a:tblPr firstRow="1">
                <a:effectLst/>
              </a:tblPr>
              <a:tblGrid>
                <a:gridCol w="2842296">
                  <a:extLst>
                    <a:ext uri="{9D8B030D-6E8A-4147-A177-3AD203B41FA5}">
                      <a16:colId xmlns:a16="http://schemas.microsoft.com/office/drawing/2014/main" val="185368794"/>
                    </a:ext>
                  </a:extLst>
                </a:gridCol>
                <a:gridCol w="5333927">
                  <a:extLst>
                    <a:ext uri="{9D8B030D-6E8A-4147-A177-3AD203B41FA5}">
                      <a16:colId xmlns:a16="http://schemas.microsoft.com/office/drawing/2014/main" val="2549234307"/>
                    </a:ext>
                  </a:extLst>
                </a:gridCol>
                <a:gridCol w="2842296">
                  <a:extLst>
                    <a:ext uri="{9D8B030D-6E8A-4147-A177-3AD203B41FA5}">
                      <a16:colId xmlns:a16="http://schemas.microsoft.com/office/drawing/2014/main" val="161526606"/>
                    </a:ext>
                  </a:extLst>
                </a:gridCol>
              </a:tblGrid>
              <a:tr h="677739">
                <a:tc grid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kern="1200" dirty="0">
                          <a:latin typeface="+mj-lt"/>
                        </a:rPr>
                        <a:t>Plans and capabilities</a:t>
                      </a:r>
                      <a:endParaRPr lang="en-US" sz="1600" b="0" kern="1200" dirty="0">
                        <a:gradFill>
                          <a:gsLst>
                            <a:gs pos="0">
                              <a:schemeClr val="bg2"/>
                            </a:gs>
                            <a:gs pos="100000">
                              <a:schemeClr val="bg1"/>
                            </a:gs>
                          </a:gsLst>
                          <a:lin ang="5400000" scaled="0"/>
                        </a:gradFill>
                        <a:latin typeface="+mj-lt"/>
                        <a:ea typeface="+mn-ea"/>
                        <a:cs typeface="+mn-cs"/>
                      </a:endParaRPr>
                    </a:p>
                  </a:txBody>
                  <a:tcPr marL="91401" marR="91401" marT="45700" marB="4570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algn="l" defTabSz="932742" rtl="0" eaLnBrk="1" latinLnBrk="0" hangingPunct="1"/>
                      <a:endParaRPr lang="en-US" sz="1400" b="0" kern="1200">
                        <a:gradFill>
                          <a:gsLst>
                            <a:gs pos="0">
                              <a:schemeClr val="bg2"/>
                            </a:gs>
                            <a:gs pos="100000">
                              <a:schemeClr val="bg1"/>
                            </a:gs>
                          </a:gsLst>
                          <a:lin ang="5400000" scaled="0"/>
                        </a:gradFill>
                        <a:latin typeface="+mj-lt"/>
                        <a:ea typeface="+mn-ea"/>
                        <a:cs typeface="+mn-cs"/>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rgbClr val="73737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37373"/>
                      </a:solidFill>
                      <a:prstDash val="solid"/>
                      <a:round/>
                      <a:headEnd type="none" w="med" len="med"/>
                      <a:tailEnd type="none" w="med" len="med"/>
                    </a:lnB>
                    <a:solidFill>
                      <a:srgbClr val="3C3C41"/>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r>
                        <a:rPr lang="en-US" sz="1600" b="0" kern="1200" dirty="0">
                          <a:latin typeface="+mj-lt"/>
                        </a:rPr>
                        <a:t>Power Automate</a:t>
                      </a:r>
                    </a:p>
                    <a:p>
                      <a:pPr marL="0" algn="ctr" defTabSz="932742" rtl="0" eaLnBrk="1" latinLnBrk="0" hangingPunct="1"/>
                      <a:r>
                        <a:rPr lang="en-US" sz="1600" b="0" kern="1200" dirty="0">
                          <a:latin typeface="+mj-lt"/>
                        </a:rPr>
                        <a:t> for Office 365</a:t>
                      </a:r>
                      <a:endParaRPr lang="en-US" sz="1600" b="0" kern="1200" dirty="0">
                        <a:solidFill>
                          <a:schemeClr val="bg1"/>
                        </a:solidFill>
                        <a:latin typeface="+mj-lt"/>
                        <a:ea typeface="+mn-ea"/>
                        <a:cs typeface="+mn-cs"/>
                      </a:endParaRPr>
                    </a:p>
                  </a:txBody>
                  <a:tcPr marL="91401" marR="91401" marT="45700" marB="4570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4080867956"/>
                  </a:ext>
                </a:extLst>
              </a:tr>
              <a:tr h="545606">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kern="1200" noProof="0" dirty="0">
                          <a:solidFill>
                            <a:srgbClr val="002060"/>
                          </a:solidFill>
                          <a:latin typeface="+mj-lt"/>
                          <a:ea typeface="+mn-ea"/>
                          <a:cs typeface="+mn-cs"/>
                        </a:rPr>
                        <a:t>Execute workflows</a:t>
                      </a:r>
                      <a:endParaRPr lang="en-US" sz="1400" b="0" kern="1200" dirty="0">
                        <a:solidFill>
                          <a:srgbClr val="002060"/>
                        </a:solidFill>
                        <a:latin typeface="+mj-lt"/>
                        <a:ea typeface="+mn-ea"/>
                        <a:cs typeface="+mn-cs"/>
                      </a:endParaRPr>
                    </a:p>
                  </a:txBody>
                  <a:tcPr marL="89642" marR="89642" marT="44821" marB="44821"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Number of flow runs per month</a:t>
                      </a:r>
                      <a:endParaRPr lang="en-US" sz="1400" b="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mn-lt"/>
                        </a:rPr>
                        <a:t>Unlimited</a:t>
                      </a:r>
                      <a:r>
                        <a:rPr kumimoji="0" lang="en-US" sz="1400" u="none" strike="noStrike" kern="1200" cap="none" spc="0" normalizeH="0" baseline="30000" noProof="0" dirty="0">
                          <a:ln>
                            <a:noFill/>
                          </a:ln>
                          <a:effectLst/>
                          <a:uLnTx/>
                          <a:uFillTx/>
                          <a:latin typeface="+mn-lt"/>
                        </a:rPr>
                        <a:t>1</a:t>
                      </a:r>
                      <a:endParaRPr kumimoji="0" lang="en-US" sz="1400" b="0" i="0" u="none" strike="noStrike" kern="1200" cap="none" spc="0" normalizeH="0" baseline="30000" noProof="0" dirty="0">
                        <a:ln>
                          <a:noFill/>
                        </a:ln>
                        <a:solidFill>
                          <a:srgbClr val="505050"/>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24319042"/>
                  </a:ext>
                </a:extLst>
              </a:tr>
              <a:tr h="545606">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0" marR="0" marT="0" marB="0" anchor="ctr">
                    <a:lnL w="12700" cap="flat" cmpd="sng" algn="ctr">
                      <a:solidFill>
                        <a:srgbClr val="75757A"/>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rgbClr val="D3D3D3"/>
                      </a:solidFill>
                      <a:prstDash val="solid"/>
                      <a:round/>
                      <a:headEnd type="none" w="med" len="med"/>
                      <a:tailEnd type="none" w="med" len="med"/>
                    </a:lnB>
                    <a:solidFill>
                      <a:srgbClr val="75757A"/>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Use business process flows for multi-stage processes</a:t>
                      </a:r>
                      <a:endParaRPr lang="en-US" sz="1400" b="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a:ea typeface="+mn-ea"/>
                          <a:cs typeface="+mn-cs"/>
                        </a:rPr>
                        <a:t>-</a:t>
                      </a:r>
                      <a:endParaRPr kumimoji="0" lang="en-US" sz="2000" b="1" i="0" u="none" strike="noStrike" kern="1200" cap="none" spc="0" normalizeH="0" baseline="0" noProof="0" dirty="0">
                        <a:ln>
                          <a:noFill/>
                        </a:ln>
                        <a:solidFill>
                          <a:schemeClr val="tx1"/>
                        </a:solidFill>
                        <a:effectLst/>
                        <a:uLnTx/>
                        <a:uFillTx/>
                        <a:latin typeface="Segoe UI"/>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00547621"/>
                  </a:ext>
                </a:extLst>
              </a:tr>
              <a:tr h="545606">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b="0" kern="1200" dirty="0">
                          <a:solidFill>
                            <a:srgbClr val="002060"/>
                          </a:solidFill>
                          <a:latin typeface="+mj-lt"/>
                          <a:ea typeface="+mn-ea"/>
                          <a:cs typeface="+mn-cs"/>
                        </a:rPr>
                        <a:t>Connect to your data</a:t>
                      </a:r>
                    </a:p>
                  </a:txBody>
                  <a:tcPr marL="91414" marR="0"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b="0" kern="1200" dirty="0">
                          <a:solidFill>
                            <a:srgbClr val="505050"/>
                          </a:solidFill>
                          <a:latin typeface="+mn-lt"/>
                          <a:ea typeface="+mn-ea"/>
                          <a:cs typeface="+mn-cs"/>
                        </a:rPr>
                        <a:t>Connect to Office 365 data</a:t>
                      </a:r>
                    </a:p>
                  </a:txBody>
                  <a:tcPr marL="91401" marR="91401" marT="9142" marB="914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dk1"/>
                          </a:solidFill>
                          <a:effectLst/>
                          <a:uLnTx/>
                          <a:uFillTx/>
                          <a:latin typeface="+mn-lt"/>
                          <a:ea typeface="+mn-ea"/>
                          <a:cs typeface="+mn-cs"/>
                        </a:rPr>
                        <a:t>Yes</a:t>
                      </a: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18047893"/>
                  </a:ext>
                </a:extLst>
              </a:tr>
              <a:tr h="545606">
                <a:tc vMerge="1">
                  <a:txBody>
                    <a:bodyPr/>
                    <a:lstStyle/>
                    <a:p>
                      <a:pPr marL="0" algn="l" defTabSz="932742" rtl="0" eaLnBrk="1" latinLnBrk="0" hangingPunct="1"/>
                      <a:endParaRPr lang="en-US" sz="1400" b="0" kern="1200">
                        <a:solidFill>
                          <a:schemeClr val="bg1"/>
                        </a:solidFill>
                        <a:latin typeface="+mj-lt"/>
                        <a:ea typeface="+mn-ea"/>
                        <a:cs typeface="+mn-cs"/>
                      </a:endParaRPr>
                    </a:p>
                  </a:txBody>
                  <a:tcPr marL="93247" marR="0" marT="0" marB="0" anchor="ctr">
                    <a:lnR w="19050" cap="flat" cmpd="sng" algn="ctr">
                      <a:noFill/>
                      <a:prstDash val="solid"/>
                      <a:round/>
                      <a:headEnd type="none" w="med" len="med"/>
                      <a:tailEnd type="none" w="med" len="med"/>
                    </a:lnR>
                    <a:solidFill>
                      <a:srgbClr val="737373"/>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kern="1200" dirty="0">
                          <a:latin typeface="+mn-lt"/>
                        </a:rPr>
                        <a:t>Use pre-built connectors</a:t>
                      </a:r>
                      <a:endParaRPr lang="en-US" sz="1400" b="0" kern="1200" dirty="0">
                        <a:solidFill>
                          <a:srgbClr val="505050"/>
                        </a:solidFill>
                        <a:latin typeface="+mn-lt"/>
                        <a:ea typeface="+mn-ea"/>
                        <a:cs typeface="+mn-cs"/>
                      </a:endParaRPr>
                    </a:p>
                  </a:txBody>
                  <a:tcPr marL="91401" marR="91401" marT="9142" marB="914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dk1"/>
                          </a:solidFill>
                          <a:effectLst/>
                          <a:uLnTx/>
                          <a:uFillTx/>
                          <a:latin typeface="+mn-lt"/>
                          <a:ea typeface="+mn-ea"/>
                          <a:cs typeface="+mn-cs"/>
                          <a:sym typeface="Wingdings" panose="05000000000000000000" pitchFamily="2" charset="2"/>
                        </a:rPr>
                        <a:t>Standard Connectors only</a:t>
                      </a:r>
                      <a:endParaRPr kumimoji="0" lang="en-US" sz="1400" u="none" strike="noStrike" kern="1200" cap="none" spc="0" normalizeH="0" baseline="0" noProof="0" dirty="0">
                        <a:ln>
                          <a:noFill/>
                        </a:ln>
                        <a:solidFill>
                          <a:schemeClr val="dk1"/>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47872314"/>
                  </a:ext>
                </a:extLst>
              </a:tr>
              <a:tr h="545606">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91427" marR="91427" marT="45713" marB="45713" vert="vert270">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75757A"/>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kern="1200" dirty="0">
                          <a:latin typeface="+mn-lt"/>
                        </a:rPr>
                        <a:t>Use custom and on-premises connectors</a:t>
                      </a:r>
                      <a:endParaRPr lang="en-US" sz="1400" b="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mn-cs"/>
                        </a:rPr>
                        <a:t>-</a:t>
                      </a:r>
                      <a:endParaRPr kumimoji="0" lang="en-US" sz="2000" b="1" i="0" u="none" strike="noStrike" kern="1200" cap="none" spc="0" normalizeH="0" baseline="0" noProof="0" dirty="0">
                        <a:ln>
                          <a:noFill/>
                        </a:ln>
                        <a:solidFill>
                          <a:srgbClr val="3C3C41"/>
                        </a:solidFill>
                        <a:effectLst/>
                        <a:uLnTx/>
                        <a:uFillTx/>
                        <a:latin typeface="Segoe UI"/>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178589"/>
                  </a:ext>
                </a:extLst>
              </a:tr>
              <a:tr h="545606">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b="0" kern="1200" dirty="0">
                          <a:solidFill>
                            <a:srgbClr val="002060"/>
                          </a:solidFill>
                          <a:latin typeface="+mj-lt"/>
                          <a:ea typeface="+mn-ea"/>
                          <a:cs typeface="+mn-cs"/>
                        </a:rPr>
                        <a:t>Store and manage data</a:t>
                      </a:r>
                    </a:p>
                  </a:txBody>
                  <a:tcPr marL="91414" marR="0"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kern="1200" dirty="0">
                          <a:latin typeface="+mn-lt"/>
                        </a:rPr>
                        <a:t>Utilize Common Data Service</a:t>
                      </a:r>
                      <a:endParaRPr lang="en-US" sz="1400" b="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a:ea typeface="+mn-ea"/>
                          <a:cs typeface="+mn-cs"/>
                        </a:rPr>
                        <a:t>-</a:t>
                      </a:r>
                      <a:endParaRPr kumimoji="0" lang="en-US" sz="2000" b="1" i="0" u="none" strike="noStrike" kern="1200" cap="none" spc="0" normalizeH="0" baseline="0" noProof="0" dirty="0">
                        <a:ln>
                          <a:noFill/>
                        </a:ln>
                        <a:solidFill>
                          <a:srgbClr val="3C3C41"/>
                        </a:solidFill>
                        <a:effectLst/>
                        <a:uLnTx/>
                        <a:uFillTx/>
                        <a:latin typeface="Segoe UI"/>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50255133"/>
                  </a:ext>
                </a:extLst>
              </a:tr>
              <a:tr h="545606">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Segoe UI Semibold"/>
                          <a:ea typeface="+mn-ea"/>
                          <a:cs typeface="+mn-cs"/>
                        </a:rPr>
                        <a:t>Per license capacity</a:t>
                      </a:r>
                      <a:r>
                        <a:rPr kumimoji="0" lang="en-US" sz="1400" b="0" i="0" u="none" strike="noStrike" kern="1200" cap="none" spc="0" normalizeH="0" baseline="30000" noProof="0" dirty="0">
                          <a:ln>
                            <a:noFill/>
                          </a:ln>
                          <a:solidFill>
                            <a:srgbClr val="002060"/>
                          </a:solidFill>
                          <a:effectLst/>
                          <a:uLnTx/>
                          <a:uFillTx/>
                          <a:latin typeface="Segoe UI Semibold"/>
                          <a:ea typeface="+mn-ea"/>
                          <a:cs typeface="+mn-cs"/>
                        </a:rPr>
                        <a:t>1</a:t>
                      </a:r>
                      <a:endParaRPr kumimoji="0" lang="en-US" sz="1400" b="0" i="0" u="none" strike="noStrike" kern="1200" cap="none" spc="0" normalizeH="0" baseline="30000" noProof="0" dirty="0">
                        <a:ln>
                          <a:noFill/>
                        </a:ln>
                        <a:solidFill>
                          <a:srgbClr val="002060"/>
                        </a:solidFill>
                        <a:effectLst/>
                        <a:uLnTx/>
                        <a:uFillTx/>
                        <a:latin typeface="Segoe UI Semibold"/>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Daily API Requests</a:t>
                      </a:r>
                      <a:r>
                        <a:rPr lang="en-US" sz="1400" kern="1200" baseline="30000" dirty="0">
                          <a:latin typeface="+mn-lt"/>
                        </a:rPr>
                        <a:t>1</a:t>
                      </a:r>
                      <a:endParaRPr lang="en-US" sz="1400" b="0" kern="1200" baseline="30000" dirty="0">
                        <a:solidFill>
                          <a:srgbClr val="505050"/>
                        </a:solidFill>
                        <a:latin typeface="+mn-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chemeClr val="dk1"/>
                          </a:solidFill>
                          <a:effectLst/>
                          <a:uLnTx/>
                          <a:uFillTx/>
                          <a:latin typeface="+mn-lt"/>
                          <a:ea typeface="+mn-ea"/>
                          <a:cs typeface="+mn-cs"/>
                        </a:rPr>
                        <a:t>2,000</a:t>
                      </a: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82782986"/>
                  </a:ext>
                </a:extLst>
              </a:tr>
            </a:tbl>
          </a:graphicData>
        </a:graphic>
      </p:graphicFrame>
      <p:sp>
        <p:nvSpPr>
          <p:cNvPr id="7" name="TextBox 6">
            <a:extLst>
              <a:ext uri="{FF2B5EF4-FFF2-40B4-BE49-F238E27FC236}">
                <a16:creationId xmlns:a16="http://schemas.microsoft.com/office/drawing/2014/main" id="{912A79FF-07A2-4AB6-99B6-3CDAE875EE86}"/>
              </a:ext>
            </a:extLst>
          </p:cNvPr>
          <p:cNvSpPr txBox="1"/>
          <p:nvPr/>
        </p:nvSpPr>
        <p:spPr>
          <a:xfrm>
            <a:off x="586740" y="6304083"/>
            <a:ext cx="10779168" cy="492390"/>
          </a:xfrm>
          <a:prstGeom prst="rect">
            <a:avLst/>
          </a:prstGeom>
          <a:noFill/>
        </p:spPr>
        <p:txBody>
          <a:bodyPr wrap="square" lIns="0" tIns="91414" rIns="91414" bIns="91414" rtlCol="0" anchor="t">
            <a:spAutoFit/>
          </a:bodyPr>
          <a:lstStyle/>
          <a:p>
            <a:pPr marL="0" marR="0" lvl="0" indent="0" defTabSz="914049"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30000" noProof="0" dirty="0">
                <a:ln>
                  <a:noFill/>
                </a:ln>
                <a:solidFill>
                  <a:srgbClr val="000000"/>
                </a:solidFill>
                <a:effectLst/>
                <a:uLnTx/>
                <a:uFillTx/>
              </a:rPr>
              <a:t>1 </a:t>
            </a:r>
            <a:r>
              <a:rPr kumimoji="0" lang="en-US" sz="1000" b="0" i="0" u="none" strike="noStrike" kern="0" cap="none" spc="0" normalizeH="0" baseline="0" noProof="0" dirty="0">
                <a:ln>
                  <a:noFill/>
                </a:ln>
                <a:solidFill>
                  <a:srgbClr val="333333"/>
                </a:solidFill>
                <a:effectLst/>
                <a:uLnTx/>
                <a:uFillTx/>
              </a:rPr>
              <a:t>Usage capacity is across both Power Apps and Power Automate; </a:t>
            </a:r>
            <a:r>
              <a:rPr kumimoji="0" lang="en-US" sz="1000" b="0" i="0" u="none" strike="noStrike" kern="0" cap="none" spc="0" normalizeH="0" baseline="0" noProof="0" dirty="0">
                <a:ln>
                  <a:noFill/>
                </a:ln>
                <a:solidFill>
                  <a:srgbClr val="000000"/>
                </a:solidFill>
                <a:effectLst/>
                <a:uLnTx/>
                <a:uFillTx/>
                <a:latin typeface="Segoe UI Semibold"/>
              </a:rPr>
              <a:t>“Power Apps and Power Automate capacity add-on” </a:t>
            </a:r>
            <a:r>
              <a:rPr kumimoji="0" lang="en-US" sz="1000" b="0" i="0" u="none" strike="noStrike" kern="0" cap="none" spc="0" normalizeH="0" baseline="0" noProof="0" dirty="0">
                <a:ln>
                  <a:noFill/>
                </a:ln>
                <a:solidFill>
                  <a:srgbClr val="000000"/>
                </a:solidFill>
                <a:effectLst/>
                <a:uLnTx/>
                <a:uFillTx/>
              </a:rPr>
              <a:t>can be purchased to increase daily service limits. More details at </a:t>
            </a:r>
            <a:r>
              <a:rPr kumimoji="0" lang="en-US" sz="1000" b="0" i="0" u="sng" strike="noStrike" kern="0" cap="none" spc="0" normalizeH="0" baseline="0" noProof="0" dirty="0">
                <a:ln>
                  <a:noFill/>
                </a:ln>
                <a:solidFill>
                  <a:srgbClr val="000000"/>
                </a:solidFill>
                <a:effectLst/>
                <a:uLnTx/>
                <a:uFillTx/>
                <a:hlinkClick r:id="rId3"/>
              </a:rPr>
              <a:t>http://aka.ms/platformlimits</a:t>
            </a:r>
            <a:endParaRPr kumimoji="0" lang="en-US" sz="980" b="0" i="0" u="none" strike="noStrike" kern="0" cap="none" spc="0" normalizeH="0" baseline="0" noProof="0" dirty="0">
              <a:ln>
                <a:noFill/>
              </a:ln>
              <a:solidFill>
                <a:srgbClr val="3C3C41"/>
              </a:solidFill>
              <a:effectLst/>
              <a:uLnTx/>
              <a:uFillTx/>
              <a:ea typeface="+mn-lt"/>
              <a:cs typeface="Segoe UI"/>
            </a:endParaRPr>
          </a:p>
        </p:txBody>
      </p:sp>
    </p:spTree>
    <p:extLst>
      <p:ext uri="{BB962C8B-B14F-4D97-AF65-F5344CB8AC3E}">
        <p14:creationId xmlns:p14="http://schemas.microsoft.com/office/powerpoint/2010/main" val="24107641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1DD74-ECFF-4F6D-A99A-166E150EA5D9}"/>
              </a:ext>
            </a:extLst>
          </p:cNvPr>
          <p:cNvSpPr>
            <a:spLocks noGrp="1"/>
          </p:cNvSpPr>
          <p:nvPr>
            <p:ph type="title"/>
          </p:nvPr>
        </p:nvSpPr>
        <p:spPr>
          <a:xfrm>
            <a:off x="376330" y="244810"/>
            <a:ext cx="11306326" cy="1325563"/>
          </a:xfrm>
        </p:spPr>
        <p:txBody>
          <a:bodyPr>
            <a:normAutofit/>
          </a:bodyPr>
          <a:lstStyle/>
          <a:p>
            <a:pPr algn="l"/>
            <a:r>
              <a:rPr lang="en-US" sz="4000" dirty="0"/>
              <a:t>Approval Tasks in Power Automate</a:t>
            </a:r>
          </a:p>
        </p:txBody>
      </p:sp>
      <p:sp>
        <p:nvSpPr>
          <p:cNvPr id="3" name="Content Placeholder 2">
            <a:extLst>
              <a:ext uri="{FF2B5EF4-FFF2-40B4-BE49-F238E27FC236}">
                <a16:creationId xmlns:a16="http://schemas.microsoft.com/office/drawing/2014/main" id="{397EFE3C-103F-468B-BBA2-1D8E61F543BB}"/>
              </a:ext>
            </a:extLst>
          </p:cNvPr>
          <p:cNvSpPr>
            <a:spLocks noGrp="1"/>
          </p:cNvSpPr>
          <p:nvPr>
            <p:ph idx="1"/>
          </p:nvPr>
        </p:nvSpPr>
        <p:spPr>
          <a:xfrm>
            <a:off x="376330" y="1690688"/>
            <a:ext cx="11450711" cy="1715597"/>
          </a:xfrm>
        </p:spPr>
        <p:txBody>
          <a:bodyPr>
            <a:normAutofit lnSpcReduction="10000"/>
          </a:bodyPr>
          <a:lstStyle/>
          <a:p>
            <a:pPr marL="0" indent="0">
              <a:buNone/>
            </a:pPr>
            <a:r>
              <a:rPr lang="en-US" sz="2200" dirty="0"/>
              <a:t>With Power Automate, you can manage the approval of documents or processes across several services, including SharePoint, Dynamics 365, Salesforce, OneDrive for Business, Zendesk, or WordPress.</a:t>
            </a:r>
          </a:p>
          <a:p>
            <a:pPr marL="0" indent="0">
              <a:buNone/>
            </a:pPr>
            <a:r>
              <a:rPr lang="en-US" sz="2200" dirty="0"/>
              <a:t>To create an approval workflow, add the Approvals - Start an approval action to any flow. After you add this action, your flow can manage the approval of documents or processes.</a:t>
            </a:r>
          </a:p>
          <a:p>
            <a:pPr marL="0" indent="0">
              <a:buNone/>
            </a:pPr>
            <a:endParaRPr lang="en-US" sz="2200" dirty="0"/>
          </a:p>
        </p:txBody>
      </p:sp>
      <p:pic>
        <p:nvPicPr>
          <p:cNvPr id="5" name="Picture 4">
            <a:extLst>
              <a:ext uri="{FF2B5EF4-FFF2-40B4-BE49-F238E27FC236}">
                <a16:creationId xmlns:a16="http://schemas.microsoft.com/office/drawing/2014/main" id="{774BFE0E-52CB-435D-8FDB-A02F8DF2FB00}"/>
              </a:ext>
            </a:extLst>
          </p:cNvPr>
          <p:cNvPicPr>
            <a:picLocks noChangeAspect="1"/>
          </p:cNvPicPr>
          <p:nvPr/>
        </p:nvPicPr>
        <p:blipFill>
          <a:blip r:embed="rId3"/>
          <a:stretch>
            <a:fillRect/>
          </a:stretch>
        </p:blipFill>
        <p:spPr>
          <a:xfrm>
            <a:off x="5907506" y="3379065"/>
            <a:ext cx="4821312" cy="3478935"/>
          </a:xfrm>
          <a:prstGeom prst="rect">
            <a:avLst/>
          </a:prstGeom>
        </p:spPr>
      </p:pic>
      <p:sp>
        <p:nvSpPr>
          <p:cNvPr id="6" name="Content Placeholder 2">
            <a:extLst>
              <a:ext uri="{FF2B5EF4-FFF2-40B4-BE49-F238E27FC236}">
                <a16:creationId xmlns:a16="http://schemas.microsoft.com/office/drawing/2014/main" id="{F87872F6-5051-49A5-A758-5FAB4B399952}"/>
              </a:ext>
            </a:extLst>
          </p:cNvPr>
          <p:cNvSpPr txBox="1">
            <a:spLocks/>
          </p:cNvSpPr>
          <p:nvPr/>
        </p:nvSpPr>
        <p:spPr>
          <a:xfrm>
            <a:off x="376330" y="4164275"/>
            <a:ext cx="4611057" cy="217636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200" dirty="0"/>
              <a:t>Approvers can respond to requests from their email inbox, the approvals center on the Power Automate website, or the Power Automate app.</a:t>
            </a:r>
          </a:p>
        </p:txBody>
      </p:sp>
    </p:spTree>
    <p:extLst>
      <p:ext uri="{BB962C8B-B14F-4D97-AF65-F5344CB8AC3E}">
        <p14:creationId xmlns:p14="http://schemas.microsoft.com/office/powerpoint/2010/main" val="14986486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621" y="2535350"/>
            <a:ext cx="11499143" cy="2139688"/>
          </a:xfrm>
        </p:spPr>
        <p:txBody>
          <a:bodyPr/>
          <a:lstStyle/>
          <a:p>
            <a:r>
              <a:rPr lang="en-US" dirty="0">
                <a:solidFill>
                  <a:schemeClr val="bg1"/>
                </a:solidFill>
              </a:rPr>
              <a:t>SharePoint Designer vs Power Automate: Comparisons</a:t>
            </a:r>
          </a:p>
        </p:txBody>
      </p:sp>
    </p:spTree>
    <p:extLst>
      <p:ext uri="{BB962C8B-B14F-4D97-AF65-F5344CB8AC3E}">
        <p14:creationId xmlns:p14="http://schemas.microsoft.com/office/powerpoint/2010/main" val="19571924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1163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1DD74-ECFF-4F6D-A99A-166E150EA5D9}"/>
              </a:ext>
            </a:extLst>
          </p:cNvPr>
          <p:cNvSpPr>
            <a:spLocks noGrp="1"/>
          </p:cNvSpPr>
          <p:nvPr>
            <p:ph type="title"/>
          </p:nvPr>
        </p:nvSpPr>
        <p:spPr>
          <a:xfrm>
            <a:off x="376331" y="365125"/>
            <a:ext cx="11306326" cy="1325563"/>
          </a:xfrm>
        </p:spPr>
        <p:txBody>
          <a:bodyPr/>
          <a:lstStyle/>
          <a:p>
            <a:r>
              <a:rPr lang="en-US" dirty="0"/>
              <a:t>SharePoint Designer Vs Power Automate – Building Blocks</a:t>
            </a:r>
          </a:p>
        </p:txBody>
      </p:sp>
      <p:graphicFrame>
        <p:nvGraphicFramePr>
          <p:cNvPr id="6" name="Content Placeholder 5">
            <a:extLst>
              <a:ext uri="{FF2B5EF4-FFF2-40B4-BE49-F238E27FC236}">
                <a16:creationId xmlns:a16="http://schemas.microsoft.com/office/drawing/2014/main" id="{27B054D2-09F1-4F8B-8A40-7F4279C22174}"/>
              </a:ext>
            </a:extLst>
          </p:cNvPr>
          <p:cNvGraphicFramePr>
            <a:graphicFrameLocks noGrp="1"/>
          </p:cNvGraphicFramePr>
          <p:nvPr>
            <p:ph idx="1"/>
            <p:extLst>
              <p:ext uri="{D42A27DB-BD31-4B8C-83A1-F6EECF244321}">
                <p14:modId xmlns:p14="http://schemas.microsoft.com/office/powerpoint/2010/main" val="6158367"/>
              </p:ext>
            </p:extLst>
          </p:nvPr>
        </p:nvGraphicFramePr>
        <p:xfrm>
          <a:off x="412045" y="1972381"/>
          <a:ext cx="5111044" cy="43606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Content Placeholder 5">
            <a:extLst>
              <a:ext uri="{FF2B5EF4-FFF2-40B4-BE49-F238E27FC236}">
                <a16:creationId xmlns:a16="http://schemas.microsoft.com/office/drawing/2014/main" id="{CC6ECC2C-E1ED-47C4-B6F7-C6BD859855B2}"/>
              </a:ext>
            </a:extLst>
          </p:cNvPr>
          <p:cNvGraphicFramePr>
            <a:graphicFrameLocks/>
          </p:cNvGraphicFramePr>
          <p:nvPr>
            <p:extLst>
              <p:ext uri="{D42A27DB-BD31-4B8C-83A1-F6EECF244321}">
                <p14:modId xmlns:p14="http://schemas.microsoft.com/office/powerpoint/2010/main" val="1033170855"/>
              </p:ext>
            </p:extLst>
          </p:nvPr>
        </p:nvGraphicFramePr>
        <p:xfrm>
          <a:off x="6668913" y="1972381"/>
          <a:ext cx="5111044" cy="436068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124863696"/>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C1426-9C1F-4393-BB21-6D4C6D047563}"/>
              </a:ext>
            </a:extLst>
          </p:cNvPr>
          <p:cNvSpPr>
            <a:spLocks noGrp="1"/>
          </p:cNvSpPr>
          <p:nvPr>
            <p:ph type="title"/>
          </p:nvPr>
        </p:nvSpPr>
        <p:spPr>
          <a:xfrm>
            <a:off x="477386" y="110789"/>
            <a:ext cx="10948576" cy="1325563"/>
          </a:xfrm>
        </p:spPr>
        <p:txBody>
          <a:bodyPr/>
          <a:lstStyle/>
          <a:p>
            <a:r>
              <a:rPr lang="en-US" dirty="0"/>
              <a:t>SharePoint Designer Workflow Types</a:t>
            </a:r>
          </a:p>
        </p:txBody>
      </p:sp>
      <p:graphicFrame>
        <p:nvGraphicFramePr>
          <p:cNvPr id="3" name="Table 3">
            <a:extLst>
              <a:ext uri="{FF2B5EF4-FFF2-40B4-BE49-F238E27FC236}">
                <a16:creationId xmlns:a16="http://schemas.microsoft.com/office/drawing/2014/main" id="{D1312386-0769-4B2C-A4D7-C7097C656229}"/>
              </a:ext>
            </a:extLst>
          </p:cNvPr>
          <p:cNvGraphicFramePr>
            <a:graphicFrameLocks noGrp="1"/>
          </p:cNvGraphicFramePr>
          <p:nvPr>
            <p:extLst>
              <p:ext uri="{D42A27DB-BD31-4B8C-83A1-F6EECF244321}">
                <p14:modId xmlns:p14="http://schemas.microsoft.com/office/powerpoint/2010/main" val="264958298"/>
              </p:ext>
            </p:extLst>
          </p:nvPr>
        </p:nvGraphicFramePr>
        <p:xfrm>
          <a:off x="477386" y="1146815"/>
          <a:ext cx="11237228" cy="5600396"/>
        </p:xfrm>
        <a:graphic>
          <a:graphicData uri="http://schemas.openxmlformats.org/drawingml/2006/table">
            <a:tbl>
              <a:tblPr firstRow="1" bandRow="1">
                <a:tableStyleId>{5C22544A-7EE6-4342-B048-85BDC9FD1C3A}</a:tableStyleId>
              </a:tblPr>
              <a:tblGrid>
                <a:gridCol w="5618614">
                  <a:extLst>
                    <a:ext uri="{9D8B030D-6E8A-4147-A177-3AD203B41FA5}">
                      <a16:colId xmlns:a16="http://schemas.microsoft.com/office/drawing/2014/main" val="999630963"/>
                    </a:ext>
                  </a:extLst>
                </a:gridCol>
                <a:gridCol w="5618614">
                  <a:extLst>
                    <a:ext uri="{9D8B030D-6E8A-4147-A177-3AD203B41FA5}">
                      <a16:colId xmlns:a16="http://schemas.microsoft.com/office/drawing/2014/main" val="3570545600"/>
                    </a:ext>
                  </a:extLst>
                </a:gridCol>
              </a:tblGrid>
              <a:tr h="434517">
                <a:tc>
                  <a:txBody>
                    <a:bodyPr/>
                    <a:lstStyle/>
                    <a:p>
                      <a:r>
                        <a:rPr lang="en-US" dirty="0"/>
                        <a:t>Workflow Type</a:t>
                      </a:r>
                    </a:p>
                  </a:txBody>
                  <a:tcPr/>
                </a:tc>
                <a:tc>
                  <a:txBody>
                    <a:bodyPr/>
                    <a:lstStyle/>
                    <a:p>
                      <a:r>
                        <a:rPr lang="en-US" dirty="0"/>
                        <a:t>Use Case </a:t>
                      </a:r>
                    </a:p>
                  </a:txBody>
                  <a:tcPr/>
                </a:tc>
                <a:extLst>
                  <a:ext uri="{0D108BD9-81ED-4DB2-BD59-A6C34878D82A}">
                    <a16:rowId xmlns:a16="http://schemas.microsoft.com/office/drawing/2014/main" val="2993399501"/>
                  </a:ext>
                </a:extLst>
              </a:tr>
              <a:tr h="2035683">
                <a:tc>
                  <a:txBody>
                    <a:bodyPr/>
                    <a:lstStyle/>
                    <a:p>
                      <a:r>
                        <a:rPr lang="en-US" dirty="0"/>
                        <a:t>List and Library workflows</a:t>
                      </a:r>
                    </a:p>
                  </a:txBody>
                  <a:tcPr/>
                </a:tc>
                <a:tc>
                  <a:txBody>
                    <a:bodyPr/>
                    <a:lstStyle/>
                    <a:p>
                      <a:r>
                        <a:rPr lang="en-US" sz="1800" b="0" i="0" dirty="0">
                          <a:solidFill>
                            <a:srgbClr val="171717"/>
                          </a:solidFill>
                          <a:effectLst/>
                          <a:latin typeface="Segoe UI" panose="020B0502040204020203" pitchFamily="34" charset="0"/>
                        </a:rPr>
                        <a:t>Applies to </a:t>
                      </a:r>
                      <a:r>
                        <a:rPr lang="en-US" dirty="0"/>
                        <a:t>either documents in a document library or a SharePoint list that holds structured data. A common application of a library workflow is to enable a process for approving documents</a:t>
                      </a:r>
                    </a:p>
                    <a:p>
                      <a:endParaRPr lang="en-US" dirty="0"/>
                    </a:p>
                  </a:txBody>
                  <a:tcPr/>
                </a:tc>
                <a:extLst>
                  <a:ext uri="{0D108BD9-81ED-4DB2-BD59-A6C34878D82A}">
                    <a16:rowId xmlns:a16="http://schemas.microsoft.com/office/drawing/2014/main" val="425252682"/>
                  </a:ext>
                </a:extLst>
              </a:tr>
              <a:tr h="1392836">
                <a:tc>
                  <a:txBody>
                    <a:bodyPr/>
                    <a:lstStyle/>
                    <a:p>
                      <a:r>
                        <a:rPr lang="en-US" dirty="0"/>
                        <a:t>Reusable workflows </a:t>
                      </a:r>
                    </a:p>
                  </a:txBody>
                  <a:tcPr/>
                </a:tc>
                <a:tc>
                  <a:txBody>
                    <a:bodyPr/>
                    <a:lstStyle/>
                    <a:p>
                      <a:r>
                        <a:rPr lang="en-US" dirty="0"/>
                        <a:t>Do not rely on a specific list but can be associated with any list. Further, the workflow design can be reused and associated with multiple lists</a:t>
                      </a:r>
                    </a:p>
                  </a:txBody>
                  <a:tcPr/>
                </a:tc>
                <a:extLst>
                  <a:ext uri="{0D108BD9-81ED-4DB2-BD59-A6C34878D82A}">
                    <a16:rowId xmlns:a16="http://schemas.microsoft.com/office/drawing/2014/main" val="2976901392"/>
                  </a:ext>
                </a:extLst>
              </a:tr>
              <a:tr h="1673913">
                <a:tc>
                  <a:txBody>
                    <a:bodyPr/>
                    <a:lstStyle/>
                    <a:p>
                      <a:r>
                        <a:rPr lang="en-US" sz="1800" b="0" i="0" dirty="0">
                          <a:solidFill>
                            <a:srgbClr val="171717"/>
                          </a:solidFill>
                          <a:effectLst/>
                          <a:latin typeface="Segoe UI" panose="020B0502040204020203" pitchFamily="34" charset="0"/>
                        </a:rPr>
                        <a:t>Site workflows   </a:t>
                      </a:r>
                      <a:endParaRPr lang="en-US" dirty="0"/>
                    </a:p>
                  </a:txBody>
                  <a:tcPr/>
                </a:tc>
                <a:tc>
                  <a:txBody>
                    <a:bodyPr/>
                    <a:lstStyle/>
                    <a:p>
                      <a:r>
                        <a:rPr lang="en-US" dirty="0"/>
                        <a:t>Implements a process that does not start as a result of a list item or document and must be initiated manually through the SharePoint UI or SharePoint API. It is also helpful if the workflow must monitor actions that occur in several places across the site.</a:t>
                      </a:r>
                    </a:p>
                    <a:p>
                      <a:endParaRPr lang="en-US" dirty="0"/>
                    </a:p>
                  </a:txBody>
                  <a:tcPr/>
                </a:tc>
                <a:extLst>
                  <a:ext uri="{0D108BD9-81ED-4DB2-BD59-A6C34878D82A}">
                    <a16:rowId xmlns:a16="http://schemas.microsoft.com/office/drawing/2014/main" val="886370154"/>
                  </a:ext>
                </a:extLst>
              </a:tr>
            </a:tbl>
          </a:graphicData>
        </a:graphic>
      </p:graphicFrame>
    </p:spTree>
    <p:extLst>
      <p:ext uri="{BB962C8B-B14F-4D97-AF65-F5344CB8AC3E}">
        <p14:creationId xmlns:p14="http://schemas.microsoft.com/office/powerpoint/2010/main" val="13940252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3E235-82A0-4B42-B904-5CAF95D77C8A}"/>
              </a:ext>
            </a:extLst>
          </p:cNvPr>
          <p:cNvSpPr>
            <a:spLocks noGrp="1"/>
          </p:cNvSpPr>
          <p:nvPr>
            <p:ph type="title"/>
          </p:nvPr>
        </p:nvSpPr>
        <p:spPr>
          <a:xfrm>
            <a:off x="587396" y="225845"/>
            <a:ext cx="10515600" cy="1325563"/>
          </a:xfrm>
        </p:spPr>
        <p:txBody>
          <a:bodyPr/>
          <a:lstStyle/>
          <a:p>
            <a:r>
              <a:rPr lang="en-US" dirty="0"/>
              <a:t>Power Automate Workflow Types</a:t>
            </a:r>
          </a:p>
        </p:txBody>
      </p:sp>
      <p:graphicFrame>
        <p:nvGraphicFramePr>
          <p:cNvPr id="3" name="Table 2">
            <a:extLst>
              <a:ext uri="{FF2B5EF4-FFF2-40B4-BE49-F238E27FC236}">
                <a16:creationId xmlns:a16="http://schemas.microsoft.com/office/drawing/2014/main" id="{66A072A8-2272-4D28-8F15-E48DA12ED838}"/>
              </a:ext>
            </a:extLst>
          </p:cNvPr>
          <p:cNvGraphicFramePr>
            <a:graphicFrameLocks noGrp="1"/>
          </p:cNvGraphicFramePr>
          <p:nvPr>
            <p:extLst>
              <p:ext uri="{D42A27DB-BD31-4B8C-83A1-F6EECF244321}">
                <p14:modId xmlns:p14="http://schemas.microsoft.com/office/powerpoint/2010/main" val="1245630841"/>
              </p:ext>
            </p:extLst>
          </p:nvPr>
        </p:nvGraphicFramePr>
        <p:xfrm>
          <a:off x="351225" y="1386739"/>
          <a:ext cx="11517808" cy="5385621"/>
        </p:xfrm>
        <a:graphic>
          <a:graphicData uri="http://schemas.openxmlformats.org/drawingml/2006/table">
            <a:tbl>
              <a:tblPr firstRow="1" bandRow="1">
                <a:tableStyleId>{5C22544A-7EE6-4342-B048-85BDC9FD1C3A}</a:tableStyleId>
              </a:tblPr>
              <a:tblGrid>
                <a:gridCol w="5758904">
                  <a:extLst>
                    <a:ext uri="{9D8B030D-6E8A-4147-A177-3AD203B41FA5}">
                      <a16:colId xmlns:a16="http://schemas.microsoft.com/office/drawing/2014/main" val="1553719999"/>
                    </a:ext>
                  </a:extLst>
                </a:gridCol>
                <a:gridCol w="5758904">
                  <a:extLst>
                    <a:ext uri="{9D8B030D-6E8A-4147-A177-3AD203B41FA5}">
                      <a16:colId xmlns:a16="http://schemas.microsoft.com/office/drawing/2014/main" val="568845416"/>
                    </a:ext>
                  </a:extLst>
                </a:gridCol>
              </a:tblGrid>
              <a:tr h="501310">
                <a:tc>
                  <a:txBody>
                    <a:bodyPr/>
                    <a:lstStyle/>
                    <a:p>
                      <a:r>
                        <a:rPr lang="en-US" dirty="0"/>
                        <a:t>Flow Type </a:t>
                      </a:r>
                    </a:p>
                  </a:txBody>
                  <a:tcPr/>
                </a:tc>
                <a:tc>
                  <a:txBody>
                    <a:bodyPr/>
                    <a:lstStyle/>
                    <a:p>
                      <a:r>
                        <a:rPr lang="en-US" dirty="0"/>
                        <a:t>Use Case</a:t>
                      </a:r>
                    </a:p>
                  </a:txBody>
                  <a:tcPr/>
                </a:tc>
                <a:extLst>
                  <a:ext uri="{0D108BD9-81ED-4DB2-BD59-A6C34878D82A}">
                    <a16:rowId xmlns:a16="http://schemas.microsoft.com/office/drawing/2014/main" val="2111298198"/>
                  </a:ext>
                </a:extLst>
              </a:tr>
              <a:tr h="1091962">
                <a:tc>
                  <a:txBody>
                    <a:bodyPr/>
                    <a:lstStyle/>
                    <a:p>
                      <a:r>
                        <a:rPr lang="en-US" sz="1800" dirty="0"/>
                        <a:t>Automated flows</a:t>
                      </a:r>
                    </a:p>
                  </a:txBody>
                  <a:tcPr/>
                </a:tc>
                <a:tc>
                  <a:txBody>
                    <a:bodyPr/>
                    <a:lstStyle/>
                    <a:p>
                      <a:r>
                        <a:rPr lang="en-US" sz="1800" dirty="0"/>
                        <a:t>Create a flow that performs one or more tasks automatically after it's triggered by an event.</a:t>
                      </a:r>
                    </a:p>
                  </a:txBody>
                  <a:tcPr/>
                </a:tc>
                <a:extLst>
                  <a:ext uri="{0D108BD9-81ED-4DB2-BD59-A6C34878D82A}">
                    <a16:rowId xmlns:a16="http://schemas.microsoft.com/office/drawing/2014/main" val="1737221709"/>
                  </a:ext>
                </a:extLst>
              </a:tr>
              <a:tr h="1023976">
                <a:tc>
                  <a:txBody>
                    <a:bodyPr/>
                    <a:lstStyle/>
                    <a:p>
                      <a:r>
                        <a:rPr lang="en-US" sz="1800" dirty="0"/>
                        <a:t>Button flows</a:t>
                      </a:r>
                    </a:p>
                  </a:txBody>
                  <a:tcPr/>
                </a:tc>
                <a:tc>
                  <a:txBody>
                    <a:bodyPr/>
                    <a:lstStyle/>
                    <a:p>
                      <a:r>
                        <a:rPr lang="en-US" sz="1800" dirty="0"/>
                        <a:t>Run repetitive tasks from anyplace, at any time, via your mobile device.</a:t>
                      </a:r>
                    </a:p>
                  </a:txBody>
                  <a:tcPr/>
                </a:tc>
                <a:extLst>
                  <a:ext uri="{0D108BD9-81ED-4DB2-BD59-A6C34878D82A}">
                    <a16:rowId xmlns:a16="http://schemas.microsoft.com/office/drawing/2014/main" val="3679034496"/>
                  </a:ext>
                </a:extLst>
              </a:tr>
              <a:tr h="637913">
                <a:tc>
                  <a:txBody>
                    <a:bodyPr/>
                    <a:lstStyle/>
                    <a:p>
                      <a:r>
                        <a:rPr lang="en-US" sz="1800" dirty="0"/>
                        <a:t>Scheduled flows</a:t>
                      </a:r>
                    </a:p>
                  </a:txBody>
                  <a:tcPr/>
                </a:tc>
                <a:tc>
                  <a:txBody>
                    <a:bodyPr/>
                    <a:lstStyle/>
                    <a:p>
                      <a:r>
                        <a:rPr lang="en-US" sz="1800" dirty="0"/>
                        <a:t>Create a flow that performs one or more tasks on a schedule.</a:t>
                      </a:r>
                    </a:p>
                  </a:txBody>
                  <a:tcPr/>
                </a:tc>
                <a:extLst>
                  <a:ext uri="{0D108BD9-81ED-4DB2-BD59-A6C34878D82A}">
                    <a16:rowId xmlns:a16="http://schemas.microsoft.com/office/drawing/2014/main" val="1815792288"/>
                  </a:ext>
                </a:extLst>
              </a:tr>
              <a:tr h="943598">
                <a:tc>
                  <a:txBody>
                    <a:bodyPr/>
                    <a:lstStyle/>
                    <a:p>
                      <a:r>
                        <a:rPr lang="en-US" sz="1800" dirty="0"/>
                        <a:t>Business process flows</a:t>
                      </a:r>
                    </a:p>
                  </a:txBody>
                  <a:tcPr/>
                </a:tc>
                <a:tc>
                  <a:txBody>
                    <a:bodyPr/>
                    <a:lstStyle/>
                    <a:p>
                      <a:r>
                        <a:rPr lang="en-US" sz="1800" dirty="0"/>
                        <a:t>Define a set of steps for people to follow to take them to a desired outcome.</a:t>
                      </a:r>
                    </a:p>
                  </a:txBody>
                  <a:tcPr/>
                </a:tc>
                <a:extLst>
                  <a:ext uri="{0D108BD9-81ED-4DB2-BD59-A6C34878D82A}">
                    <a16:rowId xmlns:a16="http://schemas.microsoft.com/office/drawing/2014/main" val="592190815"/>
                  </a:ext>
                </a:extLst>
              </a:tr>
              <a:tr h="1184695">
                <a:tc>
                  <a:txBody>
                    <a:bodyPr/>
                    <a:lstStyle/>
                    <a:p>
                      <a:r>
                        <a:rPr lang="en-US" sz="1800" dirty="0"/>
                        <a:t>UI flows</a:t>
                      </a:r>
                    </a:p>
                  </a:txBody>
                  <a:tcPr/>
                </a:tc>
                <a:tc>
                  <a:txBody>
                    <a:bodyPr/>
                    <a:lstStyle/>
                    <a:p>
                      <a:r>
                        <a:rPr lang="en-US" sz="1800" dirty="0"/>
                        <a:t>Brings Robotic Process Automation (RPA) capabilities to automate </a:t>
                      </a:r>
                      <a:r>
                        <a:rPr lang="en-US" sz="1800" b="0" dirty="0"/>
                        <a:t>repetitive tasks in Windows and Web applications</a:t>
                      </a:r>
                      <a:endParaRPr lang="en-US" sz="1800" dirty="0"/>
                    </a:p>
                  </a:txBody>
                  <a:tcPr/>
                </a:tc>
                <a:extLst>
                  <a:ext uri="{0D108BD9-81ED-4DB2-BD59-A6C34878D82A}">
                    <a16:rowId xmlns:a16="http://schemas.microsoft.com/office/drawing/2014/main" val="2207678241"/>
                  </a:ext>
                </a:extLst>
              </a:tr>
            </a:tbl>
          </a:graphicData>
        </a:graphic>
      </p:graphicFrame>
    </p:spTree>
    <p:extLst>
      <p:ext uri="{BB962C8B-B14F-4D97-AF65-F5344CB8AC3E}">
        <p14:creationId xmlns:p14="http://schemas.microsoft.com/office/powerpoint/2010/main" val="4169804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1DD74-ECFF-4F6D-A99A-166E150EA5D9}"/>
              </a:ext>
            </a:extLst>
          </p:cNvPr>
          <p:cNvSpPr>
            <a:spLocks noGrp="1"/>
          </p:cNvSpPr>
          <p:nvPr>
            <p:ph type="title"/>
          </p:nvPr>
        </p:nvSpPr>
        <p:spPr>
          <a:xfrm>
            <a:off x="376331" y="365125"/>
            <a:ext cx="11306326" cy="1325563"/>
          </a:xfrm>
        </p:spPr>
        <p:txBody>
          <a:bodyPr/>
          <a:lstStyle/>
          <a:p>
            <a:pPr algn="l"/>
            <a:r>
              <a:rPr lang="it-IT" dirty="0"/>
              <a:t>Environment Comparison</a:t>
            </a:r>
          </a:p>
        </p:txBody>
      </p:sp>
      <p:sp>
        <p:nvSpPr>
          <p:cNvPr id="3" name="Content Placeholder 2">
            <a:extLst>
              <a:ext uri="{FF2B5EF4-FFF2-40B4-BE49-F238E27FC236}">
                <a16:creationId xmlns:a16="http://schemas.microsoft.com/office/drawing/2014/main" id="{397EFE3C-103F-468B-BBA2-1D8E61F543BB}"/>
              </a:ext>
            </a:extLst>
          </p:cNvPr>
          <p:cNvSpPr>
            <a:spLocks noGrp="1"/>
          </p:cNvSpPr>
          <p:nvPr>
            <p:ph idx="1"/>
          </p:nvPr>
        </p:nvSpPr>
        <p:spPr>
          <a:xfrm>
            <a:off x="376330" y="3365023"/>
            <a:ext cx="11161953" cy="3127852"/>
          </a:xfrm>
        </p:spPr>
        <p:txBody>
          <a:bodyPr>
            <a:normAutofit/>
          </a:bodyPr>
          <a:lstStyle/>
          <a:p>
            <a:pPr marL="0" indent="0">
              <a:buNone/>
            </a:pPr>
            <a:endParaRPr lang="en-US" dirty="0"/>
          </a:p>
        </p:txBody>
      </p:sp>
      <p:pic>
        <p:nvPicPr>
          <p:cNvPr id="6" name="Picture 5">
            <a:extLst>
              <a:ext uri="{FF2B5EF4-FFF2-40B4-BE49-F238E27FC236}">
                <a16:creationId xmlns:a16="http://schemas.microsoft.com/office/drawing/2014/main" id="{A48AF842-CFBA-4CC6-9F1F-4D788260BD40}"/>
              </a:ext>
            </a:extLst>
          </p:cNvPr>
          <p:cNvPicPr>
            <a:picLocks noChangeAspect="1"/>
          </p:cNvPicPr>
          <p:nvPr/>
        </p:nvPicPr>
        <p:blipFill>
          <a:blip r:embed="rId3"/>
          <a:stretch>
            <a:fillRect/>
          </a:stretch>
        </p:blipFill>
        <p:spPr>
          <a:xfrm>
            <a:off x="376330" y="3365024"/>
            <a:ext cx="5473408" cy="3127851"/>
          </a:xfrm>
          <a:prstGeom prst="rect">
            <a:avLst/>
          </a:prstGeom>
        </p:spPr>
      </p:pic>
      <p:pic>
        <p:nvPicPr>
          <p:cNvPr id="9" name="Picture 8">
            <a:extLst>
              <a:ext uri="{FF2B5EF4-FFF2-40B4-BE49-F238E27FC236}">
                <a16:creationId xmlns:a16="http://schemas.microsoft.com/office/drawing/2014/main" id="{4C20E0FD-ECD3-4FC6-9C04-03177552E53D}"/>
              </a:ext>
            </a:extLst>
          </p:cNvPr>
          <p:cNvPicPr>
            <a:picLocks noChangeAspect="1"/>
          </p:cNvPicPr>
          <p:nvPr/>
        </p:nvPicPr>
        <p:blipFill>
          <a:blip r:embed="rId4"/>
          <a:stretch>
            <a:fillRect/>
          </a:stretch>
        </p:blipFill>
        <p:spPr>
          <a:xfrm>
            <a:off x="6096000" y="3357060"/>
            <a:ext cx="5864505" cy="3127851"/>
          </a:xfrm>
          <a:prstGeom prst="rect">
            <a:avLst/>
          </a:prstGeom>
        </p:spPr>
      </p:pic>
      <p:graphicFrame>
        <p:nvGraphicFramePr>
          <p:cNvPr id="7" name="Content Placeholder 4">
            <a:extLst>
              <a:ext uri="{FF2B5EF4-FFF2-40B4-BE49-F238E27FC236}">
                <a16:creationId xmlns:a16="http://schemas.microsoft.com/office/drawing/2014/main" id="{5FB79BE5-38D2-4F98-B47F-9C9FC0A9356A}"/>
              </a:ext>
            </a:extLst>
          </p:cNvPr>
          <p:cNvGraphicFramePr>
            <a:graphicFrameLocks/>
          </p:cNvGraphicFramePr>
          <p:nvPr>
            <p:extLst>
              <p:ext uri="{D42A27DB-BD31-4B8C-83A1-F6EECF244321}">
                <p14:modId xmlns:p14="http://schemas.microsoft.com/office/powerpoint/2010/main" val="877527054"/>
              </p:ext>
            </p:extLst>
          </p:nvPr>
        </p:nvGraphicFramePr>
        <p:xfrm>
          <a:off x="376330" y="1840910"/>
          <a:ext cx="11535093" cy="22103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Arrow: Down 7">
            <a:extLst>
              <a:ext uri="{FF2B5EF4-FFF2-40B4-BE49-F238E27FC236}">
                <a16:creationId xmlns:a16="http://schemas.microsoft.com/office/drawing/2014/main" id="{E6009EFB-18AC-4994-AAD7-82079C197FAB}"/>
              </a:ext>
            </a:extLst>
          </p:cNvPr>
          <p:cNvSpPr/>
          <p:nvPr/>
        </p:nvSpPr>
        <p:spPr>
          <a:xfrm>
            <a:off x="2846146" y="3070204"/>
            <a:ext cx="290670" cy="2868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Arrow: Down 10">
            <a:extLst>
              <a:ext uri="{FF2B5EF4-FFF2-40B4-BE49-F238E27FC236}">
                <a16:creationId xmlns:a16="http://schemas.microsoft.com/office/drawing/2014/main" id="{93C0BDAE-F11F-4D95-8495-FA6B290AA8E4}"/>
              </a:ext>
            </a:extLst>
          </p:cNvPr>
          <p:cNvSpPr/>
          <p:nvPr/>
        </p:nvSpPr>
        <p:spPr>
          <a:xfrm>
            <a:off x="9028252" y="3070204"/>
            <a:ext cx="290670" cy="2868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FEBF1F25-5C60-426C-B800-8FCA87B8D21C}"/>
              </a:ext>
            </a:extLst>
          </p:cNvPr>
          <p:cNvSpPr txBox="1"/>
          <p:nvPr/>
        </p:nvSpPr>
        <p:spPr>
          <a:xfrm>
            <a:off x="7642204" y="3429000"/>
            <a:ext cx="3009648" cy="369332"/>
          </a:xfrm>
          <a:prstGeom prst="rect">
            <a:avLst/>
          </a:prstGeom>
          <a:noFill/>
        </p:spPr>
        <p:txBody>
          <a:bodyPr wrap="square" rtlCol="0">
            <a:spAutoFit/>
          </a:bodyPr>
          <a:lstStyle/>
          <a:p>
            <a:r>
              <a:rPr lang="en-US" dirty="0"/>
              <a:t>Flow.Microsoft.com</a:t>
            </a:r>
          </a:p>
        </p:txBody>
      </p:sp>
    </p:spTree>
    <p:extLst>
      <p:ext uri="{BB962C8B-B14F-4D97-AF65-F5344CB8AC3E}">
        <p14:creationId xmlns:p14="http://schemas.microsoft.com/office/powerpoint/2010/main" val="256740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1DD74-ECFF-4F6D-A99A-166E150EA5D9}"/>
              </a:ext>
            </a:extLst>
          </p:cNvPr>
          <p:cNvSpPr>
            <a:spLocks noGrp="1"/>
          </p:cNvSpPr>
          <p:nvPr>
            <p:ph type="title"/>
          </p:nvPr>
        </p:nvSpPr>
        <p:spPr>
          <a:xfrm>
            <a:off x="376331" y="365125"/>
            <a:ext cx="11306326" cy="1325563"/>
          </a:xfrm>
        </p:spPr>
        <p:txBody>
          <a:bodyPr/>
          <a:lstStyle/>
          <a:p>
            <a:pPr algn="l"/>
            <a:r>
              <a:rPr lang="it-IT" dirty="0"/>
              <a:t>Navigation Comparision</a:t>
            </a:r>
          </a:p>
        </p:txBody>
      </p:sp>
      <p:sp>
        <p:nvSpPr>
          <p:cNvPr id="3" name="Content Placeholder 2">
            <a:extLst>
              <a:ext uri="{FF2B5EF4-FFF2-40B4-BE49-F238E27FC236}">
                <a16:creationId xmlns:a16="http://schemas.microsoft.com/office/drawing/2014/main" id="{397EFE3C-103F-468B-BBA2-1D8E61F543BB}"/>
              </a:ext>
            </a:extLst>
          </p:cNvPr>
          <p:cNvSpPr>
            <a:spLocks noGrp="1"/>
          </p:cNvSpPr>
          <p:nvPr>
            <p:ph idx="1"/>
          </p:nvPr>
        </p:nvSpPr>
        <p:spPr>
          <a:xfrm>
            <a:off x="376330" y="1912315"/>
            <a:ext cx="8561779" cy="4580560"/>
          </a:xfrm>
        </p:spPr>
        <p:txBody>
          <a:bodyPr>
            <a:normAutofit/>
          </a:bodyPr>
          <a:lstStyle/>
          <a:p>
            <a:pPr marL="0" indent="0">
              <a:buNone/>
            </a:pPr>
            <a:endParaRPr lang="en-US" dirty="0"/>
          </a:p>
          <a:p>
            <a:endParaRPr lang="en-US" dirty="0"/>
          </a:p>
          <a:p>
            <a:endParaRPr lang="en-US" dirty="0"/>
          </a:p>
          <a:p>
            <a:endParaRPr lang="en-US" dirty="0"/>
          </a:p>
        </p:txBody>
      </p:sp>
      <p:pic>
        <p:nvPicPr>
          <p:cNvPr id="7" name="Picture 6">
            <a:extLst>
              <a:ext uri="{FF2B5EF4-FFF2-40B4-BE49-F238E27FC236}">
                <a16:creationId xmlns:a16="http://schemas.microsoft.com/office/drawing/2014/main" id="{FE2D8F54-A407-4434-A125-0D5E215265A5}"/>
              </a:ext>
            </a:extLst>
          </p:cNvPr>
          <p:cNvPicPr>
            <a:picLocks noChangeAspect="1"/>
          </p:cNvPicPr>
          <p:nvPr/>
        </p:nvPicPr>
        <p:blipFill>
          <a:blip r:embed="rId3"/>
          <a:stretch>
            <a:fillRect/>
          </a:stretch>
        </p:blipFill>
        <p:spPr>
          <a:xfrm>
            <a:off x="7388108" y="3658102"/>
            <a:ext cx="2058753" cy="2952237"/>
          </a:xfrm>
          <a:prstGeom prst="rect">
            <a:avLst/>
          </a:prstGeom>
        </p:spPr>
      </p:pic>
      <p:pic>
        <p:nvPicPr>
          <p:cNvPr id="6" name="Picture 5">
            <a:extLst>
              <a:ext uri="{FF2B5EF4-FFF2-40B4-BE49-F238E27FC236}">
                <a16:creationId xmlns:a16="http://schemas.microsoft.com/office/drawing/2014/main" id="{E87666A4-1DC6-4CFC-80DE-628C099F28E0}"/>
              </a:ext>
            </a:extLst>
          </p:cNvPr>
          <p:cNvPicPr>
            <a:picLocks noChangeAspect="1"/>
          </p:cNvPicPr>
          <p:nvPr/>
        </p:nvPicPr>
        <p:blipFill>
          <a:blip r:embed="rId4"/>
          <a:stretch>
            <a:fillRect/>
          </a:stretch>
        </p:blipFill>
        <p:spPr>
          <a:xfrm>
            <a:off x="4881933" y="1496195"/>
            <a:ext cx="7188112" cy="1940280"/>
          </a:xfrm>
          <a:prstGeom prst="rect">
            <a:avLst/>
          </a:prstGeom>
        </p:spPr>
      </p:pic>
      <p:graphicFrame>
        <p:nvGraphicFramePr>
          <p:cNvPr id="4" name="Content Placeholder 4">
            <a:extLst>
              <a:ext uri="{FF2B5EF4-FFF2-40B4-BE49-F238E27FC236}">
                <a16:creationId xmlns:a16="http://schemas.microsoft.com/office/drawing/2014/main" id="{A394AF3F-19BD-4691-A523-A755B364B892}"/>
              </a:ext>
            </a:extLst>
          </p:cNvPr>
          <p:cNvGraphicFramePr>
            <a:graphicFrameLocks/>
          </p:cNvGraphicFramePr>
          <p:nvPr>
            <p:extLst>
              <p:ext uri="{D42A27DB-BD31-4B8C-83A1-F6EECF244321}">
                <p14:modId xmlns:p14="http://schemas.microsoft.com/office/powerpoint/2010/main" val="2650026671"/>
              </p:ext>
            </p:extLst>
          </p:nvPr>
        </p:nvGraphicFramePr>
        <p:xfrm>
          <a:off x="-635842" y="1378615"/>
          <a:ext cx="12451511" cy="534918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Arrow: Right 4">
            <a:extLst>
              <a:ext uri="{FF2B5EF4-FFF2-40B4-BE49-F238E27FC236}">
                <a16:creationId xmlns:a16="http://schemas.microsoft.com/office/drawing/2014/main" id="{C8D11BE6-A53B-450A-83FF-896AF10305CB}"/>
              </a:ext>
            </a:extLst>
          </p:cNvPr>
          <p:cNvSpPr/>
          <p:nvPr/>
        </p:nvSpPr>
        <p:spPr>
          <a:xfrm>
            <a:off x="4517499" y="2276917"/>
            <a:ext cx="364434" cy="1816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row: Right 9">
            <a:extLst>
              <a:ext uri="{FF2B5EF4-FFF2-40B4-BE49-F238E27FC236}">
                <a16:creationId xmlns:a16="http://schemas.microsoft.com/office/drawing/2014/main" id="{30BC5723-0332-47D4-94A0-FAF946745297}"/>
              </a:ext>
            </a:extLst>
          </p:cNvPr>
          <p:cNvSpPr/>
          <p:nvPr/>
        </p:nvSpPr>
        <p:spPr>
          <a:xfrm>
            <a:off x="4510547" y="4821291"/>
            <a:ext cx="1738861" cy="3502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665632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B2C58-E265-4B2E-B337-4F7BCE5DDF17}"/>
              </a:ext>
            </a:extLst>
          </p:cNvPr>
          <p:cNvSpPr>
            <a:spLocks noGrp="1"/>
          </p:cNvSpPr>
          <p:nvPr>
            <p:ph type="title"/>
          </p:nvPr>
        </p:nvSpPr>
        <p:spPr>
          <a:xfrm>
            <a:off x="838200" y="365125"/>
            <a:ext cx="10721996" cy="1325563"/>
          </a:xfrm>
        </p:spPr>
        <p:txBody>
          <a:bodyPr/>
          <a:lstStyle/>
          <a:p>
            <a:r>
              <a:rPr lang="en-US" dirty="0"/>
              <a:t>SPD Workflow Tasks vs Power Automate Tasks</a:t>
            </a:r>
          </a:p>
        </p:txBody>
      </p:sp>
      <p:graphicFrame>
        <p:nvGraphicFramePr>
          <p:cNvPr id="8" name="Content Placeholder 4">
            <a:extLst>
              <a:ext uri="{FF2B5EF4-FFF2-40B4-BE49-F238E27FC236}">
                <a16:creationId xmlns:a16="http://schemas.microsoft.com/office/drawing/2014/main" id="{E95C2415-776F-4CAB-A08B-09C4CEED7D6D}"/>
              </a:ext>
            </a:extLst>
          </p:cNvPr>
          <p:cNvGraphicFramePr>
            <a:graphicFrameLocks noGrp="1"/>
          </p:cNvGraphicFramePr>
          <p:nvPr>
            <p:ph idx="1"/>
            <p:extLst>
              <p:ext uri="{D42A27DB-BD31-4B8C-83A1-F6EECF244321}">
                <p14:modId xmlns:p14="http://schemas.microsoft.com/office/powerpoint/2010/main" val="33065398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59846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6E47FE40-F70B-4BF4-9CEA-F14800A6A3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78826778-2F54-4F8E-BA27-C95E488D33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483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5FF1A12-3A4D-492C-A7A2-A5C9C3D9D364}"/>
              </a:ext>
            </a:extLst>
          </p:cNvPr>
          <p:cNvSpPr>
            <a:spLocks noGrp="1"/>
          </p:cNvSpPr>
          <p:nvPr>
            <p:ph type="title"/>
          </p:nvPr>
        </p:nvSpPr>
        <p:spPr>
          <a:xfrm>
            <a:off x="1001675" y="1259958"/>
            <a:ext cx="4091109" cy="2481729"/>
          </a:xfrm>
        </p:spPr>
        <p:txBody>
          <a:bodyPr vert="horz" lIns="91440" tIns="45720" rIns="91440" bIns="45720" rtlCol="0" anchor="b">
            <a:normAutofit/>
          </a:bodyPr>
          <a:lstStyle/>
          <a:p>
            <a:pPr algn="ctr"/>
            <a:r>
              <a:rPr lang="en-US" sz="3200" kern="1200" dirty="0">
                <a:solidFill>
                  <a:srgbClr val="595959"/>
                </a:solidFill>
                <a:latin typeface="+mj-lt"/>
                <a:ea typeface="+mj-ea"/>
                <a:cs typeface="+mj-cs"/>
              </a:rPr>
              <a:t>SharePoint Built in OOB Workflows</a:t>
            </a:r>
            <a:br>
              <a:rPr lang="en-US" sz="3200" kern="1200" dirty="0">
                <a:solidFill>
                  <a:srgbClr val="595959"/>
                </a:solidFill>
                <a:latin typeface="+mj-lt"/>
                <a:ea typeface="+mj-ea"/>
                <a:cs typeface="+mj-cs"/>
              </a:rPr>
            </a:br>
            <a:r>
              <a:rPr lang="en-US" sz="3200" kern="1200" dirty="0">
                <a:solidFill>
                  <a:srgbClr val="595959"/>
                </a:solidFill>
                <a:latin typeface="+mj-lt"/>
                <a:ea typeface="+mj-ea"/>
                <a:cs typeface="+mj-cs"/>
              </a:rPr>
              <a:t>vs </a:t>
            </a:r>
            <a:br>
              <a:rPr lang="en-US" sz="3200" kern="1200" dirty="0">
                <a:solidFill>
                  <a:srgbClr val="595959"/>
                </a:solidFill>
                <a:latin typeface="+mj-lt"/>
                <a:ea typeface="+mj-ea"/>
                <a:cs typeface="+mj-cs"/>
              </a:rPr>
            </a:br>
            <a:r>
              <a:rPr lang="en-US" sz="3200" kern="1200" dirty="0">
                <a:solidFill>
                  <a:srgbClr val="595959"/>
                </a:solidFill>
                <a:latin typeface="+mj-lt"/>
                <a:ea typeface="+mj-ea"/>
                <a:cs typeface="+mj-cs"/>
              </a:rPr>
              <a:t>Power Automate </a:t>
            </a:r>
            <a:r>
              <a:rPr lang="en-US" sz="3200" dirty="0">
                <a:solidFill>
                  <a:srgbClr val="595959"/>
                </a:solidFill>
              </a:rPr>
              <a:t>equivalent options</a:t>
            </a:r>
            <a:endParaRPr lang="en-US" sz="3200" b="1" kern="1200" dirty="0">
              <a:solidFill>
                <a:srgbClr val="595959"/>
              </a:solidFill>
              <a:latin typeface="+mj-lt"/>
              <a:ea typeface="+mj-ea"/>
              <a:cs typeface="+mj-cs"/>
            </a:endParaRPr>
          </a:p>
        </p:txBody>
      </p:sp>
      <p:graphicFrame>
        <p:nvGraphicFramePr>
          <p:cNvPr id="8" name="Table 4">
            <a:extLst>
              <a:ext uri="{FF2B5EF4-FFF2-40B4-BE49-F238E27FC236}">
                <a16:creationId xmlns:a16="http://schemas.microsoft.com/office/drawing/2014/main" id="{94AB10C4-E636-40FA-96D5-6380051FF0D0}"/>
              </a:ext>
            </a:extLst>
          </p:cNvPr>
          <p:cNvGraphicFramePr>
            <a:graphicFrameLocks/>
          </p:cNvGraphicFramePr>
          <p:nvPr>
            <p:extLst>
              <p:ext uri="{D42A27DB-BD31-4B8C-83A1-F6EECF244321}">
                <p14:modId xmlns:p14="http://schemas.microsoft.com/office/powerpoint/2010/main" val="2101348831"/>
              </p:ext>
            </p:extLst>
          </p:nvPr>
        </p:nvGraphicFramePr>
        <p:xfrm>
          <a:off x="6261521" y="902289"/>
          <a:ext cx="5387742" cy="4582396"/>
        </p:xfrm>
        <a:graphic>
          <a:graphicData uri="http://schemas.openxmlformats.org/drawingml/2006/table">
            <a:tbl>
              <a:tblPr firstRow="1" bandRow="1">
                <a:tableStyleId>{5C22544A-7EE6-4342-B048-85BDC9FD1C3A}</a:tableStyleId>
              </a:tblPr>
              <a:tblGrid>
                <a:gridCol w="2814677">
                  <a:extLst>
                    <a:ext uri="{9D8B030D-6E8A-4147-A177-3AD203B41FA5}">
                      <a16:colId xmlns:a16="http://schemas.microsoft.com/office/drawing/2014/main" val="2596463080"/>
                    </a:ext>
                  </a:extLst>
                </a:gridCol>
                <a:gridCol w="2573065">
                  <a:extLst>
                    <a:ext uri="{9D8B030D-6E8A-4147-A177-3AD203B41FA5}">
                      <a16:colId xmlns:a16="http://schemas.microsoft.com/office/drawing/2014/main" val="2717786206"/>
                    </a:ext>
                  </a:extLst>
                </a:gridCol>
              </a:tblGrid>
              <a:tr h="743749">
                <a:tc>
                  <a:txBody>
                    <a:bodyPr/>
                    <a:lstStyle/>
                    <a:p>
                      <a:pPr algn="ctr"/>
                      <a:r>
                        <a:rPr lang="en-US" sz="2000" dirty="0"/>
                        <a:t>SharePoint Built-in Workflows</a:t>
                      </a:r>
                    </a:p>
                    <a:p>
                      <a:endParaRPr lang="en-US" sz="2000" dirty="0"/>
                    </a:p>
                  </a:txBody>
                  <a:tcPr marL="70819" marR="70819" marT="35409" marB="35409"/>
                </a:tc>
                <a:tc>
                  <a:txBody>
                    <a:bodyPr/>
                    <a:lstStyle/>
                    <a:p>
                      <a:pPr algn="ctr"/>
                      <a:r>
                        <a:rPr lang="en-US" sz="2000" dirty="0"/>
                        <a:t>Power Automate</a:t>
                      </a:r>
                    </a:p>
                    <a:p>
                      <a:endParaRPr lang="en-US" sz="2000" dirty="0"/>
                    </a:p>
                  </a:txBody>
                  <a:tcPr marL="70819" marR="70819" marT="35409" marB="35409"/>
                </a:tc>
                <a:extLst>
                  <a:ext uri="{0D108BD9-81ED-4DB2-BD59-A6C34878D82A}">
                    <a16:rowId xmlns:a16="http://schemas.microsoft.com/office/drawing/2014/main" val="4259342099"/>
                  </a:ext>
                </a:extLst>
              </a:tr>
              <a:tr h="811673">
                <a:tc>
                  <a:txBody>
                    <a:bodyPr/>
                    <a:lstStyle/>
                    <a:p>
                      <a:pPr algn="l" fontAlgn="ctr">
                        <a:spcBef>
                          <a:spcPts val="0"/>
                        </a:spcBef>
                        <a:spcAft>
                          <a:spcPts val="0"/>
                        </a:spcAft>
                      </a:pPr>
                      <a:r>
                        <a:rPr lang="en-US" sz="1600" u="none" strike="noStrike" dirty="0">
                          <a:effectLst/>
                        </a:rPr>
                        <a:t>Approval</a:t>
                      </a:r>
                      <a:endParaRPr lang="en-US" sz="1600" b="0" i="0" u="none" strike="noStrike" dirty="0">
                        <a:effectLst/>
                        <a:latin typeface="Arial" panose="020B0604020202020204" pitchFamily="34" charset="0"/>
                      </a:endParaRPr>
                    </a:p>
                  </a:txBody>
                  <a:tcPr marL="80086" marR="80086" marT="66738" marB="66738" anchor="ctr"/>
                </a:tc>
                <a:tc>
                  <a:txBody>
                    <a:bodyPr/>
                    <a:lstStyle/>
                    <a:p>
                      <a:pPr algn="l" fontAlgn="ctr">
                        <a:spcBef>
                          <a:spcPts val="0"/>
                        </a:spcBef>
                        <a:spcAft>
                          <a:spcPts val="0"/>
                        </a:spcAft>
                      </a:pPr>
                      <a:r>
                        <a:rPr lang="en-US" sz="1600" u="none" strike="noStrike" dirty="0">
                          <a:effectLst/>
                        </a:rPr>
                        <a:t>When a file is added, approve file using SharePoint Content Approval</a:t>
                      </a:r>
                      <a:endParaRPr lang="en-US" sz="1600" b="0" i="0" u="none" strike="noStrike" dirty="0">
                        <a:effectLst/>
                        <a:latin typeface="Arial" panose="020B0604020202020204" pitchFamily="34" charset="0"/>
                      </a:endParaRPr>
                    </a:p>
                  </a:txBody>
                  <a:tcPr marL="80086" marR="80086" marT="66738" marB="66738" anchor="ctr"/>
                </a:tc>
                <a:extLst>
                  <a:ext uri="{0D108BD9-81ED-4DB2-BD59-A6C34878D82A}">
                    <a16:rowId xmlns:a16="http://schemas.microsoft.com/office/drawing/2014/main" val="1171666060"/>
                  </a:ext>
                </a:extLst>
              </a:tr>
              <a:tr h="811673">
                <a:tc>
                  <a:txBody>
                    <a:bodyPr/>
                    <a:lstStyle/>
                    <a:p>
                      <a:pPr algn="l" fontAlgn="ctr">
                        <a:spcBef>
                          <a:spcPts val="0"/>
                        </a:spcBef>
                        <a:spcAft>
                          <a:spcPts val="0"/>
                        </a:spcAft>
                      </a:pPr>
                      <a:r>
                        <a:rPr lang="en-US" sz="1600" u="none" strike="noStrike" dirty="0">
                          <a:effectLst/>
                        </a:rPr>
                        <a:t>Collect Signatures</a:t>
                      </a:r>
                      <a:endParaRPr lang="en-US" sz="1600" b="0" i="0" u="none" strike="noStrike" dirty="0">
                        <a:effectLst/>
                        <a:latin typeface="Arial" panose="020B0604020202020204" pitchFamily="34" charset="0"/>
                      </a:endParaRPr>
                    </a:p>
                  </a:txBody>
                  <a:tcPr marL="80086" marR="80086" marT="66738" marB="66738" anchor="ctr"/>
                </a:tc>
                <a:tc>
                  <a:txBody>
                    <a:bodyPr/>
                    <a:lstStyle/>
                    <a:p>
                      <a:pPr algn="l" fontAlgn="ctr">
                        <a:spcBef>
                          <a:spcPts val="0"/>
                        </a:spcBef>
                        <a:spcAft>
                          <a:spcPts val="0"/>
                        </a:spcAft>
                      </a:pPr>
                      <a:r>
                        <a:rPr lang="en-US" sz="1600" u="none" strike="noStrike" kern="1200" dirty="0">
                          <a:solidFill>
                            <a:schemeClr val="dk1"/>
                          </a:solidFill>
                          <a:effectLst/>
                          <a:latin typeface="+mn-lt"/>
                          <a:ea typeface="+mn-ea"/>
                          <a:cs typeface="+mn-cs"/>
                        </a:rPr>
                        <a:t>Requires 3rd party connector</a:t>
                      </a:r>
                    </a:p>
                  </a:txBody>
                  <a:tcPr marL="80086" marR="80086" marT="66738" marB="66738" anchor="ctr"/>
                </a:tc>
                <a:extLst>
                  <a:ext uri="{0D108BD9-81ED-4DB2-BD59-A6C34878D82A}">
                    <a16:rowId xmlns:a16="http://schemas.microsoft.com/office/drawing/2014/main" val="3201427707"/>
                  </a:ext>
                </a:extLst>
              </a:tr>
              <a:tr h="811673">
                <a:tc>
                  <a:txBody>
                    <a:bodyPr/>
                    <a:lstStyle/>
                    <a:p>
                      <a:pPr algn="l" fontAlgn="ctr">
                        <a:spcBef>
                          <a:spcPts val="0"/>
                        </a:spcBef>
                        <a:spcAft>
                          <a:spcPts val="0"/>
                        </a:spcAft>
                      </a:pPr>
                      <a:r>
                        <a:rPr lang="en-US" sz="1600" u="none" strike="noStrike" dirty="0">
                          <a:effectLst/>
                        </a:rPr>
                        <a:t>Publishing Approval</a:t>
                      </a:r>
                      <a:endParaRPr lang="en-US" sz="1600" b="0" i="0" u="none" strike="noStrike" dirty="0">
                        <a:effectLst/>
                        <a:latin typeface="Arial" panose="020B0604020202020204" pitchFamily="34" charset="0"/>
                      </a:endParaRPr>
                    </a:p>
                  </a:txBody>
                  <a:tcPr marL="80086" marR="80086" marT="66738" marB="66738"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600" u="none" strike="noStrike" dirty="0">
                          <a:effectLst/>
                        </a:rPr>
                        <a:t>There are several Approval templates that can be tweaked to mimic the functionality</a:t>
                      </a:r>
                      <a:endParaRPr lang="en-US" sz="1600" b="0" i="0" u="none" strike="noStrike" dirty="0">
                        <a:effectLst/>
                        <a:latin typeface="Arial" panose="020B0604020202020204" pitchFamily="34" charset="0"/>
                      </a:endParaRPr>
                    </a:p>
                  </a:txBody>
                  <a:tcPr marL="80086" marR="80086" marT="66738" marB="66738" anchor="ctr"/>
                </a:tc>
                <a:extLst>
                  <a:ext uri="{0D108BD9-81ED-4DB2-BD59-A6C34878D82A}">
                    <a16:rowId xmlns:a16="http://schemas.microsoft.com/office/drawing/2014/main" val="3602551983"/>
                  </a:ext>
                </a:extLst>
              </a:tr>
              <a:tr h="811673">
                <a:tc>
                  <a:txBody>
                    <a:bodyPr/>
                    <a:lstStyle/>
                    <a:p>
                      <a:pPr algn="l" fontAlgn="ctr">
                        <a:spcBef>
                          <a:spcPts val="0"/>
                        </a:spcBef>
                        <a:spcAft>
                          <a:spcPts val="0"/>
                        </a:spcAft>
                      </a:pPr>
                      <a:r>
                        <a:rPr lang="en-US" sz="1600" u="none" strike="noStrike" dirty="0">
                          <a:effectLst/>
                        </a:rPr>
                        <a:t>Collect Feedback</a:t>
                      </a:r>
                      <a:endParaRPr lang="en-US" sz="1600" b="0" i="0" u="none" strike="noStrike" dirty="0">
                        <a:effectLst/>
                        <a:latin typeface="Arial" panose="020B0604020202020204" pitchFamily="34" charset="0"/>
                      </a:endParaRPr>
                    </a:p>
                  </a:txBody>
                  <a:tcPr marL="80086" marR="80086" marT="66738" marB="66738" anchor="ctr"/>
                </a:tc>
                <a:tc>
                  <a:txBody>
                    <a:bodyPr/>
                    <a:lstStyle/>
                    <a:p>
                      <a:pPr algn="l" fontAlgn="ctr">
                        <a:spcBef>
                          <a:spcPts val="0"/>
                        </a:spcBef>
                        <a:spcAft>
                          <a:spcPts val="0"/>
                        </a:spcAft>
                      </a:pPr>
                      <a:r>
                        <a:rPr lang="en-US" sz="1600" u="none" strike="noStrike" kern="1200" dirty="0">
                          <a:solidFill>
                            <a:schemeClr val="dk1"/>
                          </a:solidFill>
                          <a:effectLst/>
                          <a:latin typeface="+mn-lt"/>
                          <a:ea typeface="+mn-ea"/>
                          <a:cs typeface="+mn-cs"/>
                        </a:rPr>
                        <a:t>Request feedback templates</a:t>
                      </a:r>
                    </a:p>
                  </a:txBody>
                  <a:tcPr marL="80086" marR="80086" marT="66738" marB="66738" anchor="ctr"/>
                </a:tc>
                <a:extLst>
                  <a:ext uri="{0D108BD9-81ED-4DB2-BD59-A6C34878D82A}">
                    <a16:rowId xmlns:a16="http://schemas.microsoft.com/office/drawing/2014/main" val="2008336626"/>
                  </a:ext>
                </a:extLst>
              </a:tr>
            </a:tbl>
          </a:graphicData>
        </a:graphic>
      </p:graphicFrame>
    </p:spTree>
    <p:extLst>
      <p:ext uri="{BB962C8B-B14F-4D97-AF65-F5344CB8AC3E}">
        <p14:creationId xmlns:p14="http://schemas.microsoft.com/office/powerpoint/2010/main" val="3893094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47C82-7B3D-4C20-9A87-FD69531E87BE}"/>
              </a:ext>
            </a:extLst>
          </p:cNvPr>
          <p:cNvSpPr>
            <a:spLocks noGrp="1"/>
          </p:cNvSpPr>
          <p:nvPr>
            <p:ph type="title"/>
          </p:nvPr>
        </p:nvSpPr>
        <p:spPr>
          <a:xfrm>
            <a:off x="839788" y="365126"/>
            <a:ext cx="10515600" cy="966370"/>
          </a:xfrm>
        </p:spPr>
        <p:txBody>
          <a:bodyPr>
            <a:normAutofit fontScale="90000"/>
          </a:bodyPr>
          <a:lstStyle/>
          <a:p>
            <a:r>
              <a:rPr lang="en-US" sz="4900" dirty="0"/>
              <a:t>Triggers Comparison </a:t>
            </a:r>
            <a:br>
              <a:rPr lang="en-US" dirty="0">
                <a:solidFill>
                  <a:srgbClr val="767676"/>
                </a:solidFill>
                <a:latin typeface="SegoeUI"/>
              </a:rPr>
            </a:br>
            <a:endParaRPr lang="en-US" dirty="0"/>
          </a:p>
        </p:txBody>
      </p:sp>
      <p:sp>
        <p:nvSpPr>
          <p:cNvPr id="3" name="Rectangle: Rounded Corners 2">
            <a:extLst>
              <a:ext uri="{FF2B5EF4-FFF2-40B4-BE49-F238E27FC236}">
                <a16:creationId xmlns:a16="http://schemas.microsoft.com/office/drawing/2014/main" id="{A3B411ED-F2BA-43B8-87F0-34D285E29504}"/>
              </a:ext>
            </a:extLst>
          </p:cNvPr>
          <p:cNvSpPr/>
          <p:nvPr/>
        </p:nvSpPr>
        <p:spPr>
          <a:xfrm>
            <a:off x="381919"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Point Designer</a:t>
            </a:r>
          </a:p>
        </p:txBody>
      </p:sp>
      <p:sp>
        <p:nvSpPr>
          <p:cNvPr id="8" name="Rectangle: Rounded Corners 7">
            <a:extLst>
              <a:ext uri="{FF2B5EF4-FFF2-40B4-BE49-F238E27FC236}">
                <a16:creationId xmlns:a16="http://schemas.microsoft.com/office/drawing/2014/main" id="{CF888F36-9815-4F73-B555-0731C98D728D}"/>
              </a:ext>
            </a:extLst>
          </p:cNvPr>
          <p:cNvSpPr/>
          <p:nvPr/>
        </p:nvSpPr>
        <p:spPr>
          <a:xfrm>
            <a:off x="6026775"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 Automate</a:t>
            </a:r>
          </a:p>
        </p:txBody>
      </p:sp>
      <p:sp>
        <p:nvSpPr>
          <p:cNvPr id="9" name="Arrow: Pentagon 8">
            <a:extLst>
              <a:ext uri="{FF2B5EF4-FFF2-40B4-BE49-F238E27FC236}">
                <a16:creationId xmlns:a16="http://schemas.microsoft.com/office/drawing/2014/main" id="{AF53AE5A-2924-4662-A50A-0F36EE70CB64}"/>
              </a:ext>
            </a:extLst>
          </p:cNvPr>
          <p:cNvSpPr/>
          <p:nvPr/>
        </p:nvSpPr>
        <p:spPr>
          <a:xfrm>
            <a:off x="349332" y="2040747"/>
            <a:ext cx="2506758" cy="3721259"/>
          </a:xfrm>
          <a:prstGeom prst="homePlat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t>Triggers in SPD Workflow</a:t>
            </a:r>
          </a:p>
        </p:txBody>
      </p:sp>
      <p:sp>
        <p:nvSpPr>
          <p:cNvPr id="6" name="Arrow: Pentagon 5">
            <a:extLst>
              <a:ext uri="{FF2B5EF4-FFF2-40B4-BE49-F238E27FC236}">
                <a16:creationId xmlns:a16="http://schemas.microsoft.com/office/drawing/2014/main" id="{9E05F9E6-F341-4E2D-84FE-211A4A051DBC}"/>
              </a:ext>
            </a:extLst>
          </p:cNvPr>
          <p:cNvSpPr/>
          <p:nvPr/>
        </p:nvSpPr>
        <p:spPr>
          <a:xfrm>
            <a:off x="6026775" y="2040746"/>
            <a:ext cx="2506758" cy="3721259"/>
          </a:xfrm>
          <a:prstGeom prst="homePlat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t>Triggers in Power Automate flow for SharePoint</a:t>
            </a:r>
          </a:p>
        </p:txBody>
      </p:sp>
      <p:pic>
        <p:nvPicPr>
          <p:cNvPr id="14" name="Picture 13">
            <a:extLst>
              <a:ext uri="{FF2B5EF4-FFF2-40B4-BE49-F238E27FC236}">
                <a16:creationId xmlns:a16="http://schemas.microsoft.com/office/drawing/2014/main" id="{937D698F-DB38-42E8-B092-3483643B4262}"/>
              </a:ext>
            </a:extLst>
          </p:cNvPr>
          <p:cNvPicPr>
            <a:picLocks noChangeAspect="1"/>
          </p:cNvPicPr>
          <p:nvPr/>
        </p:nvPicPr>
        <p:blipFill>
          <a:blip r:embed="rId3"/>
          <a:stretch>
            <a:fillRect/>
          </a:stretch>
        </p:blipFill>
        <p:spPr>
          <a:xfrm>
            <a:off x="2856090" y="3180645"/>
            <a:ext cx="3032757" cy="1222022"/>
          </a:xfrm>
          <a:prstGeom prst="rect">
            <a:avLst/>
          </a:prstGeom>
        </p:spPr>
      </p:pic>
      <p:pic>
        <p:nvPicPr>
          <p:cNvPr id="16" name="Picture 15">
            <a:extLst>
              <a:ext uri="{FF2B5EF4-FFF2-40B4-BE49-F238E27FC236}">
                <a16:creationId xmlns:a16="http://schemas.microsoft.com/office/drawing/2014/main" id="{BE035AA7-EE0F-4A7A-A673-58678ADF934C}"/>
              </a:ext>
            </a:extLst>
          </p:cNvPr>
          <p:cNvPicPr>
            <a:picLocks noChangeAspect="1"/>
          </p:cNvPicPr>
          <p:nvPr/>
        </p:nvPicPr>
        <p:blipFill>
          <a:blip r:embed="rId4"/>
          <a:stretch>
            <a:fillRect/>
          </a:stretch>
        </p:blipFill>
        <p:spPr>
          <a:xfrm>
            <a:off x="8533533" y="2062364"/>
            <a:ext cx="3456236" cy="3486687"/>
          </a:xfrm>
          <a:prstGeom prst="rect">
            <a:avLst/>
          </a:prstGeom>
        </p:spPr>
      </p:pic>
    </p:spTree>
    <p:extLst>
      <p:ext uri="{BB962C8B-B14F-4D97-AF65-F5344CB8AC3E}">
        <p14:creationId xmlns:p14="http://schemas.microsoft.com/office/powerpoint/2010/main" val="2568000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47C82-7B3D-4C20-9A87-FD69531E87BE}"/>
              </a:ext>
            </a:extLst>
          </p:cNvPr>
          <p:cNvSpPr>
            <a:spLocks noGrp="1"/>
          </p:cNvSpPr>
          <p:nvPr>
            <p:ph type="title"/>
          </p:nvPr>
        </p:nvSpPr>
        <p:spPr>
          <a:xfrm>
            <a:off x="839788" y="365126"/>
            <a:ext cx="10515600" cy="966370"/>
          </a:xfrm>
        </p:spPr>
        <p:txBody>
          <a:bodyPr>
            <a:normAutofit fontScale="90000"/>
          </a:bodyPr>
          <a:lstStyle/>
          <a:p>
            <a:r>
              <a:rPr lang="en-US" sz="4900" dirty="0"/>
              <a:t>Actions Comparison </a:t>
            </a:r>
            <a:br>
              <a:rPr lang="en-US" dirty="0">
                <a:solidFill>
                  <a:srgbClr val="767676"/>
                </a:solidFill>
                <a:latin typeface="SegoeUI"/>
              </a:rPr>
            </a:br>
            <a:endParaRPr lang="en-US" dirty="0"/>
          </a:p>
        </p:txBody>
      </p:sp>
      <p:pic>
        <p:nvPicPr>
          <p:cNvPr id="24" name="Picture 23">
            <a:extLst>
              <a:ext uri="{FF2B5EF4-FFF2-40B4-BE49-F238E27FC236}">
                <a16:creationId xmlns:a16="http://schemas.microsoft.com/office/drawing/2014/main" id="{8E0BC28D-71DE-4D07-A4B4-87AF72F382E4}"/>
              </a:ext>
            </a:extLst>
          </p:cNvPr>
          <p:cNvPicPr>
            <a:picLocks noChangeAspect="1"/>
          </p:cNvPicPr>
          <p:nvPr/>
        </p:nvPicPr>
        <p:blipFill>
          <a:blip r:embed="rId3"/>
          <a:stretch>
            <a:fillRect/>
          </a:stretch>
        </p:blipFill>
        <p:spPr>
          <a:xfrm>
            <a:off x="9991336" y="1572167"/>
            <a:ext cx="2082108" cy="4960849"/>
          </a:xfrm>
          <a:prstGeom prst="rect">
            <a:avLst/>
          </a:prstGeom>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791CDDB4-72BE-49C7-9F1D-CE1595FF406C}"/>
              </a:ext>
            </a:extLst>
          </p:cNvPr>
          <p:cNvPicPr>
            <a:picLocks noChangeAspect="1"/>
          </p:cNvPicPr>
          <p:nvPr/>
        </p:nvPicPr>
        <p:blipFill>
          <a:blip r:embed="rId4"/>
          <a:stretch>
            <a:fillRect/>
          </a:stretch>
        </p:blipFill>
        <p:spPr>
          <a:xfrm>
            <a:off x="4427292" y="1095994"/>
            <a:ext cx="1238244" cy="5677693"/>
          </a:xfrm>
          <a:prstGeom prst="rect">
            <a:avLst/>
          </a:prstGeom>
          <a:ln>
            <a:solidFill>
              <a:schemeClr val="tx1">
                <a:lumMod val="50000"/>
                <a:lumOff val="50000"/>
              </a:schemeClr>
            </a:solidFill>
          </a:ln>
          <a:effectLst>
            <a:outerShdw blurRad="50800" dist="38100" dir="18900000" algn="bl" rotWithShape="0">
              <a:prstClr val="black">
                <a:alpha val="40000"/>
              </a:prstClr>
            </a:outerShdw>
          </a:effectLst>
        </p:spPr>
      </p:pic>
      <p:sp>
        <p:nvSpPr>
          <p:cNvPr id="3" name="Rectangle: Rounded Corners 2">
            <a:extLst>
              <a:ext uri="{FF2B5EF4-FFF2-40B4-BE49-F238E27FC236}">
                <a16:creationId xmlns:a16="http://schemas.microsoft.com/office/drawing/2014/main" id="{A3B411ED-F2BA-43B8-87F0-34D285E29504}"/>
              </a:ext>
            </a:extLst>
          </p:cNvPr>
          <p:cNvSpPr/>
          <p:nvPr/>
        </p:nvSpPr>
        <p:spPr>
          <a:xfrm>
            <a:off x="381919"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Point Designer</a:t>
            </a:r>
          </a:p>
        </p:txBody>
      </p:sp>
      <p:sp>
        <p:nvSpPr>
          <p:cNvPr id="8" name="Rectangle: Rounded Corners 7">
            <a:extLst>
              <a:ext uri="{FF2B5EF4-FFF2-40B4-BE49-F238E27FC236}">
                <a16:creationId xmlns:a16="http://schemas.microsoft.com/office/drawing/2014/main" id="{CF888F36-9815-4F73-B555-0731C98D728D}"/>
              </a:ext>
            </a:extLst>
          </p:cNvPr>
          <p:cNvSpPr/>
          <p:nvPr/>
        </p:nvSpPr>
        <p:spPr>
          <a:xfrm>
            <a:off x="6026775"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 Automate</a:t>
            </a:r>
          </a:p>
        </p:txBody>
      </p:sp>
      <p:sp>
        <p:nvSpPr>
          <p:cNvPr id="9" name="Arrow: Pentagon 8">
            <a:extLst>
              <a:ext uri="{FF2B5EF4-FFF2-40B4-BE49-F238E27FC236}">
                <a16:creationId xmlns:a16="http://schemas.microsoft.com/office/drawing/2014/main" id="{AF53AE5A-2924-4662-A50A-0F36EE70CB64}"/>
              </a:ext>
            </a:extLst>
          </p:cNvPr>
          <p:cNvSpPr/>
          <p:nvPr/>
        </p:nvSpPr>
        <p:spPr>
          <a:xfrm>
            <a:off x="349331" y="2040747"/>
            <a:ext cx="3998583" cy="3721259"/>
          </a:xfrm>
          <a:prstGeom prst="homePlat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t>If steps are the "where" and conditions are the "when," actions are the critical "what" piece of the workflow story</a:t>
            </a:r>
          </a:p>
        </p:txBody>
      </p:sp>
      <p:sp>
        <p:nvSpPr>
          <p:cNvPr id="10" name="Arrow: Pentagon 9">
            <a:extLst>
              <a:ext uri="{FF2B5EF4-FFF2-40B4-BE49-F238E27FC236}">
                <a16:creationId xmlns:a16="http://schemas.microsoft.com/office/drawing/2014/main" id="{69905789-75EB-4E63-BB7B-1493B2D8BD21}"/>
              </a:ext>
            </a:extLst>
          </p:cNvPr>
          <p:cNvSpPr/>
          <p:nvPr/>
        </p:nvSpPr>
        <p:spPr>
          <a:xfrm>
            <a:off x="5992753" y="1849239"/>
            <a:ext cx="3998583" cy="3721259"/>
          </a:xfrm>
          <a:prstGeom prst="homePlat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t>Actions in Power Automate are the same in concept as actions in Designer workflows</a:t>
            </a:r>
          </a:p>
          <a:p>
            <a:pPr marL="285750" indent="-285750">
              <a:buFont typeface="Arial" panose="020B0604020202020204" pitchFamily="34" charset="0"/>
              <a:buChar char="•"/>
            </a:pPr>
            <a:r>
              <a:rPr lang="en-US" dirty="0"/>
              <a:t>Actions are the "verb" - they do the work</a:t>
            </a:r>
          </a:p>
        </p:txBody>
      </p:sp>
    </p:spTree>
    <p:extLst>
      <p:ext uri="{BB962C8B-B14F-4D97-AF65-F5344CB8AC3E}">
        <p14:creationId xmlns:p14="http://schemas.microsoft.com/office/powerpoint/2010/main" val="9996911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16">
            <a:extLst>
              <a:ext uri="{FF2B5EF4-FFF2-40B4-BE49-F238E27FC236}">
                <a16:creationId xmlns:a16="http://schemas.microsoft.com/office/drawing/2014/main" id="{6E47FE40-F70B-4BF4-9CEA-F14800A6A3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18">
            <a:extLst>
              <a:ext uri="{FF2B5EF4-FFF2-40B4-BE49-F238E27FC236}">
                <a16:creationId xmlns:a16="http://schemas.microsoft.com/office/drawing/2014/main" id="{78826778-2F54-4F8E-BA27-C95E488D33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483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5FF1A12-3A4D-492C-A7A2-A5C9C3D9D364}"/>
              </a:ext>
            </a:extLst>
          </p:cNvPr>
          <p:cNvSpPr>
            <a:spLocks noGrp="1"/>
          </p:cNvSpPr>
          <p:nvPr>
            <p:ph type="title"/>
          </p:nvPr>
        </p:nvSpPr>
        <p:spPr>
          <a:xfrm>
            <a:off x="235286" y="902289"/>
            <a:ext cx="4977727" cy="3541851"/>
          </a:xfrm>
          <a:prstGeom prst="ellipse">
            <a:avLst/>
          </a:prstGeom>
        </p:spPr>
        <p:txBody>
          <a:bodyPr vert="horz" lIns="91440" tIns="45720" rIns="91440" bIns="45720" rtlCol="0" anchor="b">
            <a:noAutofit/>
          </a:bodyPr>
          <a:lstStyle/>
          <a:p>
            <a:pPr algn="ctr"/>
            <a:r>
              <a:rPr lang="en-US" sz="3200" kern="1200" dirty="0">
                <a:solidFill>
                  <a:srgbClr val="595959"/>
                </a:solidFill>
                <a:latin typeface="+mj-lt"/>
                <a:ea typeface="+mj-ea"/>
                <a:cs typeface="+mj-cs"/>
              </a:rPr>
              <a:t>SharePoint Designer vs </a:t>
            </a:r>
            <a:br>
              <a:rPr lang="en-US" sz="3200" kern="1200" dirty="0">
                <a:solidFill>
                  <a:srgbClr val="595959"/>
                </a:solidFill>
                <a:latin typeface="+mj-lt"/>
                <a:ea typeface="+mj-ea"/>
                <a:cs typeface="+mj-cs"/>
              </a:rPr>
            </a:br>
            <a:r>
              <a:rPr lang="en-US" sz="3200" kern="1200" dirty="0">
                <a:solidFill>
                  <a:srgbClr val="595959"/>
                </a:solidFill>
                <a:latin typeface="+mj-lt"/>
                <a:ea typeface="+mj-ea"/>
                <a:cs typeface="+mj-cs"/>
              </a:rPr>
              <a:t>Power Automate</a:t>
            </a:r>
            <a:br>
              <a:rPr lang="en-US" sz="3200" kern="1200" dirty="0">
                <a:solidFill>
                  <a:srgbClr val="595959"/>
                </a:solidFill>
                <a:latin typeface="+mj-lt"/>
                <a:ea typeface="+mj-ea"/>
                <a:cs typeface="+mj-cs"/>
              </a:rPr>
            </a:br>
            <a:br>
              <a:rPr lang="en-US" sz="3200" kern="1200" dirty="0">
                <a:solidFill>
                  <a:srgbClr val="595959"/>
                </a:solidFill>
                <a:latin typeface="+mj-lt"/>
                <a:ea typeface="+mj-ea"/>
                <a:cs typeface="+mj-cs"/>
              </a:rPr>
            </a:br>
            <a:r>
              <a:rPr lang="en-US" sz="3200" b="1" kern="1200" dirty="0">
                <a:solidFill>
                  <a:srgbClr val="595959"/>
                </a:solidFill>
                <a:latin typeface="+mj-lt"/>
                <a:ea typeface="+mj-ea"/>
                <a:cs typeface="+mj-cs"/>
              </a:rPr>
              <a:t>Actions</a:t>
            </a:r>
            <a:r>
              <a:rPr lang="en-US" sz="3200" kern="1200" dirty="0">
                <a:solidFill>
                  <a:srgbClr val="595959"/>
                </a:solidFill>
                <a:latin typeface="+mj-lt"/>
                <a:ea typeface="+mj-ea"/>
                <a:cs typeface="+mj-cs"/>
              </a:rPr>
              <a:t> - </a:t>
            </a:r>
            <a:r>
              <a:rPr lang="en-US" sz="3200" b="1" kern="1200" dirty="0">
                <a:solidFill>
                  <a:srgbClr val="595959"/>
                </a:solidFill>
                <a:latin typeface="+mj-lt"/>
                <a:ea typeface="+mj-ea"/>
                <a:cs typeface="+mj-cs"/>
              </a:rPr>
              <a:t>List Items</a:t>
            </a:r>
          </a:p>
        </p:txBody>
      </p:sp>
      <p:graphicFrame>
        <p:nvGraphicFramePr>
          <p:cNvPr id="7" name="Table 4">
            <a:extLst>
              <a:ext uri="{FF2B5EF4-FFF2-40B4-BE49-F238E27FC236}">
                <a16:creationId xmlns:a16="http://schemas.microsoft.com/office/drawing/2014/main" id="{7B8DEB6A-1C5A-47E8-B51E-FBA1BC591DDE}"/>
              </a:ext>
            </a:extLst>
          </p:cNvPr>
          <p:cNvGraphicFramePr>
            <a:graphicFrameLocks/>
          </p:cNvGraphicFramePr>
          <p:nvPr>
            <p:extLst>
              <p:ext uri="{D42A27DB-BD31-4B8C-83A1-F6EECF244321}">
                <p14:modId xmlns:p14="http://schemas.microsoft.com/office/powerpoint/2010/main" val="2588117441"/>
              </p:ext>
            </p:extLst>
          </p:nvPr>
        </p:nvGraphicFramePr>
        <p:xfrm>
          <a:off x="6285743" y="1362517"/>
          <a:ext cx="5328954" cy="4396388"/>
        </p:xfrm>
        <a:graphic>
          <a:graphicData uri="http://schemas.openxmlformats.org/drawingml/2006/table">
            <a:tbl>
              <a:tblPr firstRow="1" bandRow="1">
                <a:tableStyleId>{5C22544A-7EE6-4342-B048-85BDC9FD1C3A}</a:tableStyleId>
              </a:tblPr>
              <a:tblGrid>
                <a:gridCol w="3142872">
                  <a:extLst>
                    <a:ext uri="{9D8B030D-6E8A-4147-A177-3AD203B41FA5}">
                      <a16:colId xmlns:a16="http://schemas.microsoft.com/office/drawing/2014/main" val="2596463080"/>
                    </a:ext>
                  </a:extLst>
                </a:gridCol>
                <a:gridCol w="2186082">
                  <a:extLst>
                    <a:ext uri="{9D8B030D-6E8A-4147-A177-3AD203B41FA5}">
                      <a16:colId xmlns:a16="http://schemas.microsoft.com/office/drawing/2014/main" val="2717786206"/>
                    </a:ext>
                  </a:extLst>
                </a:gridCol>
              </a:tblGrid>
              <a:tr h="794117">
                <a:tc>
                  <a:txBody>
                    <a:bodyPr/>
                    <a:lstStyle/>
                    <a:p>
                      <a:pPr algn="ctr"/>
                      <a:r>
                        <a:rPr lang="en-US" sz="2000" dirty="0"/>
                        <a:t>SharePoint Designer</a:t>
                      </a:r>
                    </a:p>
                    <a:p>
                      <a:endParaRPr lang="en-US" sz="2000" dirty="0"/>
                    </a:p>
                  </a:txBody>
                  <a:tcPr marL="65833" marR="65833" marT="32917" marB="32917"/>
                </a:tc>
                <a:tc>
                  <a:txBody>
                    <a:bodyPr/>
                    <a:lstStyle/>
                    <a:p>
                      <a:pPr algn="ctr"/>
                      <a:r>
                        <a:rPr lang="en-US" sz="2000" dirty="0"/>
                        <a:t>Power Automate</a:t>
                      </a:r>
                    </a:p>
                    <a:p>
                      <a:endParaRPr lang="en-US" sz="2000" dirty="0"/>
                    </a:p>
                  </a:txBody>
                  <a:tcPr marL="65833" marR="65833" marT="32917" marB="32917"/>
                </a:tc>
                <a:extLst>
                  <a:ext uri="{0D108BD9-81ED-4DB2-BD59-A6C34878D82A}">
                    <a16:rowId xmlns:a16="http://schemas.microsoft.com/office/drawing/2014/main" val="4259342099"/>
                  </a:ext>
                </a:extLst>
              </a:tr>
              <a:tr h="547362">
                <a:tc>
                  <a:txBody>
                    <a:bodyPr/>
                    <a:lstStyle/>
                    <a:p>
                      <a:pPr algn="l" fontAlgn="ctr">
                        <a:spcBef>
                          <a:spcPts val="0"/>
                        </a:spcBef>
                        <a:spcAft>
                          <a:spcPts val="0"/>
                        </a:spcAft>
                      </a:pPr>
                      <a:r>
                        <a:rPr lang="en-US" sz="2000" u="none" strike="noStrike" dirty="0">
                          <a:effectLst/>
                        </a:rPr>
                        <a:t>Create List Item</a:t>
                      </a:r>
                      <a:endParaRPr lang="en-US" sz="2000" b="0" i="0" u="none" strike="noStrike" dirty="0">
                        <a:effectLst/>
                        <a:latin typeface="Arial" panose="020B0604020202020204" pitchFamily="34" charset="0"/>
                      </a:endParaRPr>
                    </a:p>
                  </a:txBody>
                  <a:tcPr marL="65833" marR="65833" marT="54861" marB="54861" anchor="ctr"/>
                </a:tc>
                <a:tc>
                  <a:txBody>
                    <a:bodyPr/>
                    <a:lstStyle/>
                    <a:p>
                      <a:pPr algn="l" fontAlgn="ctr">
                        <a:spcBef>
                          <a:spcPts val="0"/>
                        </a:spcBef>
                        <a:spcAft>
                          <a:spcPts val="0"/>
                        </a:spcAft>
                      </a:pPr>
                      <a:r>
                        <a:rPr lang="en-US" sz="2000" u="none" strike="noStrike" dirty="0">
                          <a:effectLst/>
                        </a:rPr>
                        <a:t>Create item</a:t>
                      </a:r>
                      <a:endParaRPr lang="en-US" sz="2000" b="0" i="0" u="none" strike="noStrike" dirty="0">
                        <a:effectLst/>
                        <a:latin typeface="Arial" panose="020B0604020202020204" pitchFamily="34" charset="0"/>
                      </a:endParaRPr>
                    </a:p>
                  </a:txBody>
                  <a:tcPr marL="65833" marR="65833" marT="54861" marB="54861" anchor="ctr"/>
                </a:tc>
                <a:extLst>
                  <a:ext uri="{0D108BD9-81ED-4DB2-BD59-A6C34878D82A}">
                    <a16:rowId xmlns:a16="http://schemas.microsoft.com/office/drawing/2014/main" val="1171666060"/>
                  </a:ext>
                </a:extLst>
              </a:tr>
              <a:tr h="547362">
                <a:tc>
                  <a:txBody>
                    <a:bodyPr/>
                    <a:lstStyle/>
                    <a:p>
                      <a:pPr algn="l" fontAlgn="ctr">
                        <a:spcBef>
                          <a:spcPts val="0"/>
                        </a:spcBef>
                        <a:spcAft>
                          <a:spcPts val="0"/>
                        </a:spcAft>
                      </a:pPr>
                      <a:r>
                        <a:rPr lang="en-US" sz="2000" u="none" strike="noStrike" dirty="0">
                          <a:effectLst/>
                        </a:rPr>
                        <a:t>Delete Item</a:t>
                      </a:r>
                      <a:endParaRPr lang="en-US" sz="2000" b="0" i="0" u="none" strike="noStrike" dirty="0">
                        <a:effectLst/>
                        <a:latin typeface="Arial" panose="020B0604020202020204" pitchFamily="34" charset="0"/>
                      </a:endParaRPr>
                    </a:p>
                  </a:txBody>
                  <a:tcPr marL="65833" marR="65833" marT="54861" marB="54861" anchor="ctr"/>
                </a:tc>
                <a:tc>
                  <a:txBody>
                    <a:bodyPr/>
                    <a:lstStyle/>
                    <a:p>
                      <a:pPr algn="l" fontAlgn="ctr">
                        <a:spcBef>
                          <a:spcPts val="0"/>
                        </a:spcBef>
                        <a:spcAft>
                          <a:spcPts val="0"/>
                        </a:spcAft>
                      </a:pPr>
                      <a:r>
                        <a:rPr lang="en-US" sz="2000" u="none" strike="noStrike" dirty="0">
                          <a:effectLst/>
                        </a:rPr>
                        <a:t>Delete item</a:t>
                      </a:r>
                      <a:endParaRPr lang="en-US" sz="2000" b="0" i="0" u="none" strike="noStrike" dirty="0">
                        <a:effectLst/>
                        <a:latin typeface="Arial" panose="020B0604020202020204" pitchFamily="34" charset="0"/>
                      </a:endParaRPr>
                    </a:p>
                  </a:txBody>
                  <a:tcPr marL="65833" marR="65833" marT="54861" marB="54861" anchor="ctr"/>
                </a:tc>
                <a:extLst>
                  <a:ext uri="{0D108BD9-81ED-4DB2-BD59-A6C34878D82A}">
                    <a16:rowId xmlns:a16="http://schemas.microsoft.com/office/drawing/2014/main" val="3201427707"/>
                  </a:ext>
                </a:extLst>
              </a:tr>
              <a:tr h="547362">
                <a:tc>
                  <a:txBody>
                    <a:bodyPr/>
                    <a:lstStyle/>
                    <a:p>
                      <a:pPr algn="l" fontAlgn="ctr">
                        <a:spcBef>
                          <a:spcPts val="0"/>
                        </a:spcBef>
                        <a:spcAft>
                          <a:spcPts val="0"/>
                        </a:spcAft>
                      </a:pPr>
                      <a:r>
                        <a:rPr lang="en-US" sz="2000" u="none" strike="noStrike" dirty="0">
                          <a:effectLst/>
                        </a:rPr>
                        <a:t>Set Field in Current Item</a:t>
                      </a:r>
                      <a:endParaRPr lang="en-US" sz="2000" b="0" i="0" u="none" strike="noStrike" dirty="0">
                        <a:effectLst/>
                        <a:latin typeface="Arial" panose="020B0604020202020204" pitchFamily="34" charset="0"/>
                      </a:endParaRPr>
                    </a:p>
                  </a:txBody>
                  <a:tcPr marL="65833" marR="65833" marT="54861" marB="54861" anchor="ctr"/>
                </a:tc>
                <a:tc>
                  <a:txBody>
                    <a:bodyPr/>
                    <a:lstStyle/>
                    <a:p>
                      <a:pPr algn="l" fontAlgn="ctr">
                        <a:spcBef>
                          <a:spcPts val="0"/>
                        </a:spcBef>
                        <a:spcAft>
                          <a:spcPts val="0"/>
                        </a:spcAft>
                      </a:pPr>
                      <a:r>
                        <a:rPr lang="en-US" sz="2000" u="none" strike="noStrike" dirty="0">
                          <a:effectLst/>
                        </a:rPr>
                        <a:t>Update item</a:t>
                      </a:r>
                      <a:endParaRPr lang="en-US" sz="2000" b="0" i="0" u="none" strike="noStrike" dirty="0">
                        <a:effectLst/>
                        <a:latin typeface="Arial" panose="020B0604020202020204" pitchFamily="34" charset="0"/>
                      </a:endParaRPr>
                    </a:p>
                  </a:txBody>
                  <a:tcPr marL="65833" marR="65833" marT="54861" marB="54861" anchor="ctr"/>
                </a:tc>
                <a:extLst>
                  <a:ext uri="{0D108BD9-81ED-4DB2-BD59-A6C34878D82A}">
                    <a16:rowId xmlns:a16="http://schemas.microsoft.com/office/drawing/2014/main" val="3602551983"/>
                  </a:ext>
                </a:extLst>
              </a:tr>
              <a:tr h="547362">
                <a:tc>
                  <a:txBody>
                    <a:bodyPr/>
                    <a:lstStyle/>
                    <a:p>
                      <a:pPr algn="l" fontAlgn="ctr">
                        <a:spcBef>
                          <a:spcPts val="0"/>
                        </a:spcBef>
                        <a:spcAft>
                          <a:spcPts val="0"/>
                        </a:spcAft>
                      </a:pPr>
                      <a:r>
                        <a:rPr lang="en-US" sz="2000" u="none" strike="noStrike" dirty="0">
                          <a:effectLst/>
                        </a:rPr>
                        <a:t>Update List Item</a:t>
                      </a:r>
                      <a:endParaRPr lang="en-US" sz="2000" b="0" i="0" u="none" strike="noStrike" dirty="0">
                        <a:effectLst/>
                        <a:latin typeface="Arial" panose="020B0604020202020204" pitchFamily="34" charset="0"/>
                      </a:endParaRPr>
                    </a:p>
                  </a:txBody>
                  <a:tcPr marL="65833" marR="65833" marT="54861" marB="54861" anchor="ctr"/>
                </a:tc>
                <a:tc>
                  <a:txBody>
                    <a:bodyPr/>
                    <a:lstStyle/>
                    <a:p>
                      <a:pPr algn="l" fontAlgn="ctr">
                        <a:spcBef>
                          <a:spcPts val="0"/>
                        </a:spcBef>
                        <a:spcAft>
                          <a:spcPts val="0"/>
                        </a:spcAft>
                      </a:pPr>
                      <a:r>
                        <a:rPr lang="en-US" sz="2000" u="none" strike="noStrike" dirty="0">
                          <a:effectLst/>
                        </a:rPr>
                        <a:t>Update item</a:t>
                      </a:r>
                      <a:endParaRPr lang="en-US" sz="2000" b="0" i="0" u="none" strike="noStrike" dirty="0">
                        <a:effectLst/>
                        <a:latin typeface="Arial" panose="020B0604020202020204" pitchFamily="34" charset="0"/>
                      </a:endParaRPr>
                    </a:p>
                  </a:txBody>
                  <a:tcPr marL="65833" marR="65833" marT="54861" marB="54861" anchor="ctr"/>
                </a:tc>
                <a:extLst>
                  <a:ext uri="{0D108BD9-81ED-4DB2-BD59-A6C34878D82A}">
                    <a16:rowId xmlns:a16="http://schemas.microsoft.com/office/drawing/2014/main" val="2008336626"/>
                  </a:ext>
                </a:extLst>
              </a:tr>
              <a:tr h="547362">
                <a:tc>
                  <a:txBody>
                    <a:bodyPr/>
                    <a:lstStyle/>
                    <a:p>
                      <a:pPr algn="l" fontAlgn="ctr">
                        <a:spcBef>
                          <a:spcPts val="0"/>
                        </a:spcBef>
                        <a:spcAft>
                          <a:spcPts val="0"/>
                        </a:spcAft>
                      </a:pPr>
                      <a:r>
                        <a:rPr lang="en-US" sz="2000" u="none" strike="noStrike" dirty="0">
                          <a:effectLst/>
                        </a:rPr>
                        <a:t>Wait for Event in List Item</a:t>
                      </a:r>
                      <a:endParaRPr lang="en-US" sz="2000" b="0" i="0" u="none" strike="noStrike" dirty="0">
                        <a:effectLst/>
                        <a:latin typeface="Arial" panose="020B0604020202020204" pitchFamily="34" charset="0"/>
                      </a:endParaRPr>
                    </a:p>
                  </a:txBody>
                  <a:tcPr marL="65833" marR="65833" marT="54861" marB="54861" anchor="ctr"/>
                </a:tc>
                <a:tc>
                  <a:txBody>
                    <a:bodyPr/>
                    <a:lstStyle/>
                    <a:p>
                      <a:pPr algn="l" fontAlgn="ctr">
                        <a:spcBef>
                          <a:spcPts val="0"/>
                        </a:spcBef>
                        <a:spcAft>
                          <a:spcPts val="0"/>
                        </a:spcAft>
                      </a:pPr>
                      <a:r>
                        <a:rPr lang="en-US" sz="2000" u="none" strike="noStrike" dirty="0">
                          <a:effectLst/>
                        </a:rPr>
                        <a:t>Do until</a:t>
                      </a:r>
                      <a:endParaRPr lang="en-US" sz="2000" b="0" i="0" u="none" strike="noStrike" dirty="0">
                        <a:effectLst/>
                        <a:latin typeface="Arial" panose="020B0604020202020204" pitchFamily="34" charset="0"/>
                      </a:endParaRPr>
                    </a:p>
                  </a:txBody>
                  <a:tcPr marL="65833" marR="65833" marT="54861" marB="54861" anchor="ctr"/>
                </a:tc>
                <a:extLst>
                  <a:ext uri="{0D108BD9-81ED-4DB2-BD59-A6C34878D82A}">
                    <a16:rowId xmlns:a16="http://schemas.microsoft.com/office/drawing/2014/main" val="3727406561"/>
                  </a:ext>
                </a:extLst>
              </a:tr>
              <a:tr h="865461">
                <a:tc>
                  <a:txBody>
                    <a:bodyPr/>
                    <a:lstStyle/>
                    <a:p>
                      <a:pPr algn="l" fontAlgn="ctr">
                        <a:spcBef>
                          <a:spcPts val="0"/>
                        </a:spcBef>
                        <a:spcAft>
                          <a:spcPts val="0"/>
                        </a:spcAft>
                      </a:pPr>
                      <a:r>
                        <a:rPr lang="en-US" sz="2000" u="none" strike="noStrike" dirty="0">
                          <a:effectLst/>
                        </a:rPr>
                        <a:t>Wait for Field Change in Current Item</a:t>
                      </a:r>
                      <a:endParaRPr lang="en-US" sz="2000" b="0" i="0" u="none" strike="noStrike" dirty="0">
                        <a:effectLst/>
                        <a:latin typeface="Arial" panose="020B0604020202020204" pitchFamily="34" charset="0"/>
                      </a:endParaRPr>
                    </a:p>
                  </a:txBody>
                  <a:tcPr marL="65833" marR="65833" marT="54861" marB="54861" anchor="ctr"/>
                </a:tc>
                <a:tc>
                  <a:txBody>
                    <a:bodyPr/>
                    <a:lstStyle/>
                    <a:p>
                      <a:pPr algn="l" fontAlgn="ctr">
                        <a:spcBef>
                          <a:spcPts val="0"/>
                        </a:spcBef>
                        <a:spcAft>
                          <a:spcPts val="0"/>
                        </a:spcAft>
                      </a:pPr>
                      <a:r>
                        <a:rPr lang="en-US" sz="2000" u="none" strike="noStrike" dirty="0">
                          <a:effectLst/>
                        </a:rPr>
                        <a:t>Do until</a:t>
                      </a:r>
                      <a:endParaRPr lang="en-US" sz="2000" b="0" i="0" u="none" strike="noStrike" dirty="0">
                        <a:effectLst/>
                        <a:latin typeface="Arial" panose="020B0604020202020204" pitchFamily="34" charset="0"/>
                      </a:endParaRPr>
                    </a:p>
                  </a:txBody>
                  <a:tcPr marL="65833" marR="65833" marT="54861" marB="54861" anchor="ctr"/>
                </a:tc>
                <a:extLst>
                  <a:ext uri="{0D108BD9-81ED-4DB2-BD59-A6C34878D82A}">
                    <a16:rowId xmlns:a16="http://schemas.microsoft.com/office/drawing/2014/main" val="3741301137"/>
                  </a:ext>
                </a:extLst>
              </a:tr>
            </a:tbl>
          </a:graphicData>
        </a:graphic>
      </p:graphicFrame>
    </p:spTree>
    <p:extLst>
      <p:ext uri="{BB962C8B-B14F-4D97-AF65-F5344CB8AC3E}">
        <p14:creationId xmlns:p14="http://schemas.microsoft.com/office/powerpoint/2010/main" val="1608566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E4F2F9-1CFB-4041-84A8-4159C3482980}"/>
              </a:ext>
            </a:extLst>
          </p:cNvPr>
          <p:cNvSpPr>
            <a:spLocks noGrp="1"/>
          </p:cNvSpPr>
          <p:nvPr>
            <p:ph type="body" sz="quarter" idx="10"/>
          </p:nvPr>
        </p:nvSpPr>
        <p:spPr>
          <a:xfrm>
            <a:off x="450667" y="2306777"/>
            <a:ext cx="11653523" cy="1815177"/>
          </a:xfrm>
        </p:spPr>
        <p:txBody>
          <a:bodyPr/>
          <a:lstStyle/>
          <a:p>
            <a:r>
              <a:rPr lang="en-US" dirty="0"/>
              <a:t>Introduction</a:t>
            </a:r>
          </a:p>
          <a:p>
            <a:r>
              <a:rPr lang="en-US" dirty="0"/>
              <a:t>Power Automate Introduction</a:t>
            </a:r>
          </a:p>
          <a:p>
            <a:r>
              <a:rPr lang="en-US" dirty="0"/>
              <a:t>SharePoint Designer vs Power Automate: Comparisons</a:t>
            </a:r>
          </a:p>
        </p:txBody>
      </p:sp>
      <p:sp>
        <p:nvSpPr>
          <p:cNvPr id="3" name="Title 2">
            <a:extLst>
              <a:ext uri="{FF2B5EF4-FFF2-40B4-BE49-F238E27FC236}">
                <a16:creationId xmlns:a16="http://schemas.microsoft.com/office/drawing/2014/main" id="{46932757-3233-44ED-8175-391BECD18E7F}"/>
              </a:ext>
            </a:extLst>
          </p:cNvPr>
          <p:cNvSpPr>
            <a:spLocks noGrp="1"/>
          </p:cNvSpPr>
          <p:nvPr>
            <p:ph type="title"/>
          </p:nvPr>
        </p:nvSpPr>
        <p:spPr>
          <a:xfrm>
            <a:off x="508000" y="365125"/>
            <a:ext cx="10845800" cy="1325563"/>
          </a:xfrm>
        </p:spPr>
        <p:txBody>
          <a:bodyPr/>
          <a:lstStyle/>
          <a:p>
            <a:r>
              <a:rPr lang="en-US" dirty="0"/>
              <a:t>Module Overview</a:t>
            </a:r>
          </a:p>
        </p:txBody>
      </p:sp>
    </p:spTree>
    <p:extLst>
      <p:ext uri="{BB962C8B-B14F-4D97-AF65-F5344CB8AC3E}">
        <p14:creationId xmlns:p14="http://schemas.microsoft.com/office/powerpoint/2010/main" val="8006179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6E47FE40-F70B-4BF4-9CEA-F14800A6A3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78826778-2F54-4F8E-BA27-C95E488D33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483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5FF1A12-3A4D-492C-A7A2-A5C9C3D9D364}"/>
              </a:ext>
            </a:extLst>
          </p:cNvPr>
          <p:cNvSpPr>
            <a:spLocks noGrp="1"/>
          </p:cNvSpPr>
          <p:nvPr>
            <p:ph type="title"/>
          </p:nvPr>
        </p:nvSpPr>
        <p:spPr>
          <a:xfrm>
            <a:off x="1001675" y="1259958"/>
            <a:ext cx="3588491" cy="2481729"/>
          </a:xfrm>
        </p:spPr>
        <p:txBody>
          <a:bodyPr vert="horz" lIns="91440" tIns="45720" rIns="91440" bIns="45720" rtlCol="0" anchor="b">
            <a:normAutofit/>
          </a:bodyPr>
          <a:lstStyle/>
          <a:p>
            <a:pPr algn="ctr"/>
            <a:r>
              <a:rPr lang="en-US" sz="3200" kern="1200" dirty="0">
                <a:solidFill>
                  <a:srgbClr val="595959"/>
                </a:solidFill>
                <a:latin typeface="+mj-lt"/>
                <a:ea typeface="+mj-ea"/>
                <a:cs typeface="+mj-cs"/>
              </a:rPr>
              <a:t>SharePoint Designer vs </a:t>
            </a:r>
            <a:br>
              <a:rPr lang="en-US" sz="3200" kern="1200" dirty="0">
                <a:solidFill>
                  <a:srgbClr val="595959"/>
                </a:solidFill>
                <a:latin typeface="+mj-lt"/>
                <a:ea typeface="+mj-ea"/>
                <a:cs typeface="+mj-cs"/>
              </a:rPr>
            </a:br>
            <a:r>
              <a:rPr lang="en-US" sz="3200" kern="1200" dirty="0">
                <a:solidFill>
                  <a:srgbClr val="595959"/>
                </a:solidFill>
                <a:latin typeface="+mj-lt"/>
                <a:ea typeface="+mj-ea"/>
                <a:cs typeface="+mj-cs"/>
              </a:rPr>
              <a:t>Power Automate</a:t>
            </a:r>
            <a:br>
              <a:rPr lang="en-US" sz="3200" kern="1200" dirty="0">
                <a:solidFill>
                  <a:srgbClr val="595959"/>
                </a:solidFill>
                <a:latin typeface="+mj-lt"/>
                <a:ea typeface="+mj-ea"/>
                <a:cs typeface="+mj-cs"/>
              </a:rPr>
            </a:br>
            <a:r>
              <a:rPr lang="en-US" sz="3200" kern="1200" dirty="0">
                <a:solidFill>
                  <a:srgbClr val="595959"/>
                </a:solidFill>
                <a:latin typeface="+mj-lt"/>
                <a:ea typeface="+mj-ea"/>
                <a:cs typeface="+mj-cs"/>
              </a:rPr>
              <a:t> </a:t>
            </a:r>
            <a:br>
              <a:rPr lang="en-US" sz="3200" kern="1200" dirty="0">
                <a:solidFill>
                  <a:srgbClr val="595959"/>
                </a:solidFill>
                <a:latin typeface="+mj-lt"/>
                <a:ea typeface="+mj-ea"/>
                <a:cs typeface="+mj-cs"/>
              </a:rPr>
            </a:br>
            <a:r>
              <a:rPr lang="en-US" sz="3200" b="1" kern="1200" dirty="0">
                <a:solidFill>
                  <a:srgbClr val="595959"/>
                </a:solidFill>
                <a:latin typeface="+mj-lt"/>
                <a:ea typeface="+mj-ea"/>
                <a:cs typeface="+mj-cs"/>
              </a:rPr>
              <a:t>Actions</a:t>
            </a:r>
            <a:r>
              <a:rPr lang="en-US" sz="3200" kern="1200" dirty="0">
                <a:solidFill>
                  <a:srgbClr val="595959"/>
                </a:solidFill>
                <a:latin typeface="+mj-lt"/>
                <a:ea typeface="+mj-ea"/>
                <a:cs typeface="+mj-cs"/>
              </a:rPr>
              <a:t> - </a:t>
            </a:r>
            <a:r>
              <a:rPr lang="en-US" sz="3200" b="1" kern="1200" dirty="0">
                <a:solidFill>
                  <a:srgbClr val="595959"/>
                </a:solidFill>
                <a:latin typeface="+mj-lt"/>
                <a:ea typeface="+mj-ea"/>
                <a:cs typeface="+mj-cs"/>
              </a:rPr>
              <a:t>Files</a:t>
            </a:r>
          </a:p>
        </p:txBody>
      </p:sp>
      <p:graphicFrame>
        <p:nvGraphicFramePr>
          <p:cNvPr id="4" name="Table 4">
            <a:extLst>
              <a:ext uri="{FF2B5EF4-FFF2-40B4-BE49-F238E27FC236}">
                <a16:creationId xmlns:a16="http://schemas.microsoft.com/office/drawing/2014/main" id="{7B8DEB6A-1C5A-47E8-B51E-FBA1BC591DDE}"/>
              </a:ext>
            </a:extLst>
          </p:cNvPr>
          <p:cNvGraphicFramePr>
            <a:graphicFrameLocks noGrp="1"/>
          </p:cNvGraphicFramePr>
          <p:nvPr>
            <p:ph idx="1"/>
            <p:extLst>
              <p:ext uri="{D42A27DB-BD31-4B8C-83A1-F6EECF244321}">
                <p14:modId xmlns:p14="http://schemas.microsoft.com/office/powerpoint/2010/main" val="3953949511"/>
              </p:ext>
            </p:extLst>
          </p:nvPr>
        </p:nvGraphicFramePr>
        <p:xfrm>
          <a:off x="6267576" y="847789"/>
          <a:ext cx="5389510" cy="4868724"/>
        </p:xfrm>
        <a:graphic>
          <a:graphicData uri="http://schemas.openxmlformats.org/drawingml/2006/table">
            <a:tbl>
              <a:tblPr firstRow="1" bandRow="1">
                <a:tableStyleId>{5C22544A-7EE6-4342-B048-85BDC9FD1C3A}</a:tableStyleId>
              </a:tblPr>
              <a:tblGrid>
                <a:gridCol w="2777016">
                  <a:extLst>
                    <a:ext uri="{9D8B030D-6E8A-4147-A177-3AD203B41FA5}">
                      <a16:colId xmlns:a16="http://schemas.microsoft.com/office/drawing/2014/main" val="2596463080"/>
                    </a:ext>
                  </a:extLst>
                </a:gridCol>
                <a:gridCol w="2612494">
                  <a:extLst>
                    <a:ext uri="{9D8B030D-6E8A-4147-A177-3AD203B41FA5}">
                      <a16:colId xmlns:a16="http://schemas.microsoft.com/office/drawing/2014/main" val="2717786206"/>
                    </a:ext>
                  </a:extLst>
                </a:gridCol>
              </a:tblGrid>
              <a:tr h="933099">
                <a:tc>
                  <a:txBody>
                    <a:bodyPr/>
                    <a:lstStyle/>
                    <a:p>
                      <a:pPr algn="ctr"/>
                      <a:r>
                        <a:rPr lang="en-US" sz="2000" dirty="0"/>
                        <a:t>SharePoint Designer</a:t>
                      </a:r>
                    </a:p>
                    <a:p>
                      <a:endParaRPr lang="en-US" sz="2000" dirty="0"/>
                    </a:p>
                  </a:txBody>
                  <a:tcPr marL="100361" marR="100361" marT="50181" marB="50181"/>
                </a:tc>
                <a:tc>
                  <a:txBody>
                    <a:bodyPr/>
                    <a:lstStyle/>
                    <a:p>
                      <a:pPr algn="ctr"/>
                      <a:r>
                        <a:rPr lang="en-US" sz="2000" dirty="0"/>
                        <a:t>Power Automate</a:t>
                      </a:r>
                    </a:p>
                    <a:p>
                      <a:endParaRPr lang="en-US" sz="2000" dirty="0"/>
                    </a:p>
                  </a:txBody>
                  <a:tcPr marL="100361" marR="100361" marT="50181" marB="50181"/>
                </a:tc>
                <a:extLst>
                  <a:ext uri="{0D108BD9-81ED-4DB2-BD59-A6C34878D82A}">
                    <a16:rowId xmlns:a16="http://schemas.microsoft.com/office/drawing/2014/main" val="4259342099"/>
                  </a:ext>
                </a:extLst>
              </a:tr>
              <a:tr h="622677">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Check In Item</a:t>
                      </a:r>
                      <a:endParaRPr lang="en-US" sz="2000" u="none" strike="noStrike" kern="1200" dirty="0">
                        <a:solidFill>
                          <a:schemeClr val="dk1"/>
                        </a:solidFill>
                        <a:effectLst/>
                        <a:latin typeface="+mn-lt"/>
                        <a:ea typeface="+mn-ea"/>
                        <a:cs typeface="+mn-cs"/>
                      </a:endParaRPr>
                    </a:p>
                  </a:txBody>
                  <a:tcPr marL="65423" marR="65423" marT="54520" marB="54520" anchor="ctr"/>
                </a:tc>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Check in item</a:t>
                      </a:r>
                      <a:endParaRPr lang="en-US" sz="2000" u="none" strike="noStrike" kern="1200" dirty="0">
                        <a:solidFill>
                          <a:schemeClr val="dk1"/>
                        </a:solidFill>
                        <a:effectLst/>
                        <a:latin typeface="+mn-lt"/>
                        <a:ea typeface="+mn-ea"/>
                        <a:cs typeface="+mn-cs"/>
                      </a:endParaRPr>
                    </a:p>
                  </a:txBody>
                  <a:tcPr marL="65423" marR="65423" marT="54520" marB="54520" anchor="ctr"/>
                </a:tc>
                <a:extLst>
                  <a:ext uri="{0D108BD9-81ED-4DB2-BD59-A6C34878D82A}">
                    <a16:rowId xmlns:a16="http://schemas.microsoft.com/office/drawing/2014/main" val="1171666060"/>
                  </a:ext>
                </a:extLst>
              </a:tr>
              <a:tr h="622677">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Check Out Item</a:t>
                      </a:r>
                      <a:endParaRPr lang="en-US" sz="2000" u="none" strike="noStrike" kern="1200" dirty="0">
                        <a:solidFill>
                          <a:schemeClr val="dk1"/>
                        </a:solidFill>
                        <a:effectLst/>
                        <a:latin typeface="+mn-lt"/>
                        <a:ea typeface="+mn-ea"/>
                        <a:cs typeface="+mn-cs"/>
                      </a:endParaRPr>
                    </a:p>
                  </a:txBody>
                  <a:tcPr marL="65423" marR="65423" marT="54520" marB="54520" anchor="ctr"/>
                </a:tc>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Check out item</a:t>
                      </a:r>
                      <a:endParaRPr lang="en-US" sz="2000" u="none" strike="noStrike" kern="1200" dirty="0">
                        <a:solidFill>
                          <a:schemeClr val="dk1"/>
                        </a:solidFill>
                        <a:effectLst/>
                        <a:latin typeface="+mn-lt"/>
                        <a:ea typeface="+mn-ea"/>
                        <a:cs typeface="+mn-cs"/>
                      </a:endParaRPr>
                    </a:p>
                  </a:txBody>
                  <a:tcPr marL="65423" marR="65423" marT="54520" marB="54520" anchor="ctr"/>
                </a:tc>
                <a:extLst>
                  <a:ext uri="{0D108BD9-81ED-4DB2-BD59-A6C34878D82A}">
                    <a16:rowId xmlns:a16="http://schemas.microsoft.com/office/drawing/2014/main" val="3201427707"/>
                  </a:ext>
                </a:extLst>
              </a:tr>
              <a:tr h="622677">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Copy Document</a:t>
                      </a:r>
                      <a:endParaRPr lang="en-US" sz="2000" u="none" strike="noStrike" kern="1200" dirty="0">
                        <a:solidFill>
                          <a:schemeClr val="dk1"/>
                        </a:solidFill>
                        <a:effectLst/>
                        <a:latin typeface="+mn-lt"/>
                        <a:ea typeface="+mn-ea"/>
                        <a:cs typeface="+mn-cs"/>
                      </a:endParaRPr>
                    </a:p>
                  </a:txBody>
                  <a:tcPr marL="65423" marR="65423" marT="54520" marB="54520" anchor="ctr"/>
                </a:tc>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Copy file</a:t>
                      </a:r>
                      <a:endParaRPr lang="en-US" sz="2000" u="none" strike="noStrike" kern="1200" dirty="0">
                        <a:solidFill>
                          <a:schemeClr val="dk1"/>
                        </a:solidFill>
                        <a:effectLst/>
                        <a:latin typeface="+mn-lt"/>
                        <a:ea typeface="+mn-ea"/>
                        <a:cs typeface="+mn-cs"/>
                      </a:endParaRPr>
                    </a:p>
                  </a:txBody>
                  <a:tcPr marL="65423" marR="65423" marT="54520" marB="54520" anchor="ctr"/>
                </a:tc>
                <a:extLst>
                  <a:ext uri="{0D108BD9-81ED-4DB2-BD59-A6C34878D82A}">
                    <a16:rowId xmlns:a16="http://schemas.microsoft.com/office/drawing/2014/main" val="3602551983"/>
                  </a:ext>
                </a:extLst>
              </a:tr>
              <a:tr h="1033797">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Discard Check Out Item</a:t>
                      </a:r>
                      <a:endParaRPr lang="en-US" sz="2000" u="none" strike="noStrike" kern="1200" dirty="0">
                        <a:solidFill>
                          <a:schemeClr val="dk1"/>
                        </a:solidFill>
                        <a:effectLst/>
                        <a:latin typeface="+mn-lt"/>
                        <a:ea typeface="+mn-ea"/>
                        <a:cs typeface="+mn-cs"/>
                      </a:endParaRPr>
                    </a:p>
                  </a:txBody>
                  <a:tcPr marL="65423" marR="65423" marT="54520" marB="54520" anchor="ctr"/>
                </a:tc>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Discard check out</a:t>
                      </a:r>
                      <a:endParaRPr lang="en-US" sz="2000" u="none" strike="noStrike" kern="1200" dirty="0">
                        <a:solidFill>
                          <a:schemeClr val="dk1"/>
                        </a:solidFill>
                        <a:effectLst/>
                        <a:latin typeface="+mn-lt"/>
                        <a:ea typeface="+mn-ea"/>
                        <a:cs typeface="+mn-cs"/>
                      </a:endParaRPr>
                    </a:p>
                  </a:txBody>
                  <a:tcPr marL="65423" marR="65423" marT="54520" marB="54520" anchor="ctr"/>
                </a:tc>
                <a:extLst>
                  <a:ext uri="{0D108BD9-81ED-4DB2-BD59-A6C34878D82A}">
                    <a16:rowId xmlns:a16="http://schemas.microsoft.com/office/drawing/2014/main" val="2008336626"/>
                  </a:ext>
                </a:extLst>
              </a:tr>
              <a:tr h="1033797">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Translate Document</a:t>
                      </a:r>
                      <a:endParaRPr lang="en-US" sz="2000" u="none" strike="noStrike" kern="1200" dirty="0">
                        <a:solidFill>
                          <a:schemeClr val="dk1"/>
                        </a:solidFill>
                        <a:effectLst/>
                        <a:latin typeface="+mn-lt"/>
                        <a:ea typeface="+mn-ea"/>
                        <a:cs typeface="+mn-cs"/>
                      </a:endParaRPr>
                    </a:p>
                  </a:txBody>
                  <a:tcPr marL="65423" marR="65423" marT="54520" marB="54520" anchor="ctr"/>
                </a:tc>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rPr>
                        <a:t>Translator</a:t>
                      </a:r>
                      <a:endParaRPr lang="en-US" sz="2000" u="none" strike="noStrike" kern="1200" dirty="0">
                        <a:solidFill>
                          <a:schemeClr val="dk1"/>
                        </a:solidFill>
                        <a:effectLst/>
                        <a:latin typeface="+mn-lt"/>
                        <a:ea typeface="+mn-ea"/>
                        <a:cs typeface="+mn-cs"/>
                      </a:endParaRPr>
                    </a:p>
                  </a:txBody>
                  <a:tcPr marL="65423" marR="65423" marT="54520" marB="54520" anchor="ctr"/>
                </a:tc>
                <a:extLst>
                  <a:ext uri="{0D108BD9-81ED-4DB2-BD59-A6C34878D82A}">
                    <a16:rowId xmlns:a16="http://schemas.microsoft.com/office/drawing/2014/main" val="3727406561"/>
                  </a:ext>
                </a:extLst>
              </a:tr>
            </a:tbl>
          </a:graphicData>
        </a:graphic>
      </p:graphicFrame>
    </p:spTree>
    <p:extLst>
      <p:ext uri="{BB962C8B-B14F-4D97-AF65-F5344CB8AC3E}">
        <p14:creationId xmlns:p14="http://schemas.microsoft.com/office/powerpoint/2010/main" val="40581641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1" name="Rectangle 40">
            <a:extLst>
              <a:ext uri="{FF2B5EF4-FFF2-40B4-BE49-F238E27FC236}">
                <a16:creationId xmlns:a16="http://schemas.microsoft.com/office/drawing/2014/main" id="{6E47FE40-F70B-4BF4-9CEA-F14800A6A3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78826778-2F54-4F8E-BA27-C95E488D33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483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5FF1A12-3A4D-492C-A7A2-A5C9C3D9D364}"/>
              </a:ext>
            </a:extLst>
          </p:cNvPr>
          <p:cNvSpPr>
            <a:spLocks noGrp="1"/>
          </p:cNvSpPr>
          <p:nvPr>
            <p:ph type="title"/>
          </p:nvPr>
        </p:nvSpPr>
        <p:spPr>
          <a:xfrm>
            <a:off x="542737" y="1344351"/>
            <a:ext cx="4010619" cy="3200642"/>
          </a:xfrm>
        </p:spPr>
        <p:txBody>
          <a:bodyPr vert="horz" lIns="91440" tIns="45720" rIns="91440" bIns="45720" rtlCol="0" anchor="b">
            <a:normAutofit fontScale="90000"/>
          </a:bodyPr>
          <a:lstStyle/>
          <a:p>
            <a:pPr algn="ctr"/>
            <a:br>
              <a:rPr lang="en-US" sz="2700" kern="1200" dirty="0">
                <a:solidFill>
                  <a:srgbClr val="595959"/>
                </a:solidFill>
                <a:latin typeface="+mj-lt"/>
                <a:ea typeface="+mj-ea"/>
                <a:cs typeface="+mj-cs"/>
              </a:rPr>
            </a:br>
            <a:r>
              <a:rPr lang="en-US" sz="3600" kern="1200" dirty="0">
                <a:solidFill>
                  <a:srgbClr val="595959"/>
                </a:solidFill>
                <a:latin typeface="+mj-lt"/>
                <a:ea typeface="+mj-ea"/>
                <a:cs typeface="+mj-cs"/>
              </a:rPr>
              <a:t>SharePoint Designer </a:t>
            </a:r>
            <a:br>
              <a:rPr lang="en-US" sz="3600" kern="1200" dirty="0">
                <a:solidFill>
                  <a:srgbClr val="595959"/>
                </a:solidFill>
                <a:latin typeface="+mj-lt"/>
                <a:ea typeface="+mj-ea"/>
                <a:cs typeface="+mj-cs"/>
              </a:rPr>
            </a:br>
            <a:r>
              <a:rPr lang="en-US" sz="3600" kern="1200" dirty="0">
                <a:solidFill>
                  <a:srgbClr val="595959"/>
                </a:solidFill>
                <a:latin typeface="+mj-lt"/>
                <a:ea typeface="+mj-ea"/>
                <a:cs typeface="+mj-cs"/>
              </a:rPr>
              <a:t>vs </a:t>
            </a:r>
            <a:br>
              <a:rPr lang="en-US" sz="3600" kern="1200" dirty="0">
                <a:solidFill>
                  <a:srgbClr val="595959"/>
                </a:solidFill>
                <a:latin typeface="+mj-lt"/>
                <a:ea typeface="+mj-ea"/>
                <a:cs typeface="+mj-cs"/>
              </a:rPr>
            </a:br>
            <a:r>
              <a:rPr lang="en-US" sz="3600" kern="1200" dirty="0">
                <a:solidFill>
                  <a:srgbClr val="595959"/>
                </a:solidFill>
                <a:latin typeface="+mj-lt"/>
                <a:ea typeface="+mj-ea"/>
                <a:cs typeface="+mj-cs"/>
              </a:rPr>
              <a:t>Power Automate </a:t>
            </a:r>
            <a:br>
              <a:rPr lang="en-US" sz="3600" kern="1200" dirty="0">
                <a:solidFill>
                  <a:srgbClr val="595959"/>
                </a:solidFill>
                <a:latin typeface="+mj-lt"/>
                <a:ea typeface="+mj-ea"/>
                <a:cs typeface="+mj-cs"/>
              </a:rPr>
            </a:br>
            <a:br>
              <a:rPr lang="en-US" sz="3600" kern="1200" dirty="0">
                <a:solidFill>
                  <a:srgbClr val="595959"/>
                </a:solidFill>
                <a:latin typeface="+mj-lt"/>
                <a:ea typeface="+mj-ea"/>
                <a:cs typeface="+mj-cs"/>
              </a:rPr>
            </a:br>
            <a:r>
              <a:rPr lang="en-US" sz="3600" b="1" kern="1200" dirty="0">
                <a:solidFill>
                  <a:srgbClr val="595959"/>
                </a:solidFill>
                <a:latin typeface="+mj-lt"/>
                <a:ea typeface="+mj-ea"/>
                <a:cs typeface="+mj-cs"/>
              </a:rPr>
              <a:t>Actions</a:t>
            </a:r>
            <a:r>
              <a:rPr lang="en-US" sz="3600" kern="1200" dirty="0">
                <a:solidFill>
                  <a:srgbClr val="595959"/>
                </a:solidFill>
                <a:latin typeface="+mj-lt"/>
                <a:ea typeface="+mj-ea"/>
                <a:cs typeface="+mj-cs"/>
              </a:rPr>
              <a:t> - </a:t>
            </a:r>
            <a:r>
              <a:rPr lang="en-US" sz="3600" b="1" kern="1200" dirty="0">
                <a:solidFill>
                  <a:srgbClr val="595959"/>
                </a:solidFill>
                <a:latin typeface="+mj-lt"/>
                <a:ea typeface="+mj-ea"/>
                <a:cs typeface="+mj-cs"/>
              </a:rPr>
              <a:t>Users and Permissions</a:t>
            </a:r>
            <a:br>
              <a:rPr lang="en-US" sz="3600" kern="1200" dirty="0">
                <a:solidFill>
                  <a:srgbClr val="595959"/>
                </a:solidFill>
                <a:latin typeface="+mj-lt"/>
                <a:ea typeface="+mj-ea"/>
                <a:cs typeface="+mj-cs"/>
              </a:rPr>
            </a:br>
            <a:endParaRPr lang="en-US" sz="3600" kern="1200" dirty="0">
              <a:solidFill>
                <a:srgbClr val="595959"/>
              </a:solidFill>
              <a:latin typeface="+mj-lt"/>
              <a:ea typeface="+mj-ea"/>
              <a:cs typeface="+mj-cs"/>
            </a:endParaRPr>
          </a:p>
        </p:txBody>
      </p:sp>
      <p:graphicFrame>
        <p:nvGraphicFramePr>
          <p:cNvPr id="15" name="Table 4">
            <a:extLst>
              <a:ext uri="{FF2B5EF4-FFF2-40B4-BE49-F238E27FC236}">
                <a16:creationId xmlns:a16="http://schemas.microsoft.com/office/drawing/2014/main" id="{7B8DEB6A-1C5A-47E8-B51E-FBA1BC591DDE}"/>
              </a:ext>
            </a:extLst>
          </p:cNvPr>
          <p:cNvGraphicFramePr>
            <a:graphicFrameLocks noGrp="1"/>
          </p:cNvGraphicFramePr>
          <p:nvPr>
            <p:ph idx="1"/>
            <p:extLst>
              <p:ext uri="{D42A27DB-BD31-4B8C-83A1-F6EECF244321}">
                <p14:modId xmlns:p14="http://schemas.microsoft.com/office/powerpoint/2010/main" val="1312315597"/>
              </p:ext>
            </p:extLst>
          </p:nvPr>
        </p:nvGraphicFramePr>
        <p:xfrm>
          <a:off x="6200964" y="902289"/>
          <a:ext cx="5448299" cy="4802114"/>
        </p:xfrm>
        <a:graphic>
          <a:graphicData uri="http://schemas.openxmlformats.org/drawingml/2006/table">
            <a:tbl>
              <a:tblPr firstRow="1" bandRow="1">
                <a:tableStyleId>{5C22544A-7EE6-4342-B048-85BDC9FD1C3A}</a:tableStyleId>
              </a:tblPr>
              <a:tblGrid>
                <a:gridCol w="2875234">
                  <a:extLst>
                    <a:ext uri="{9D8B030D-6E8A-4147-A177-3AD203B41FA5}">
                      <a16:colId xmlns:a16="http://schemas.microsoft.com/office/drawing/2014/main" val="2596463080"/>
                    </a:ext>
                  </a:extLst>
                </a:gridCol>
                <a:gridCol w="2573065">
                  <a:extLst>
                    <a:ext uri="{9D8B030D-6E8A-4147-A177-3AD203B41FA5}">
                      <a16:colId xmlns:a16="http://schemas.microsoft.com/office/drawing/2014/main" val="2717786206"/>
                    </a:ext>
                  </a:extLst>
                </a:gridCol>
              </a:tblGrid>
              <a:tr h="743749">
                <a:tc>
                  <a:txBody>
                    <a:bodyPr/>
                    <a:lstStyle/>
                    <a:p>
                      <a:pPr algn="ctr"/>
                      <a:r>
                        <a:rPr lang="en-US" sz="2000" dirty="0"/>
                        <a:t>SharePoint Designer</a:t>
                      </a:r>
                    </a:p>
                    <a:p>
                      <a:endParaRPr lang="en-US" sz="2000" dirty="0"/>
                    </a:p>
                  </a:txBody>
                  <a:tcPr marL="70819" marR="70819" marT="35409" marB="35409"/>
                </a:tc>
                <a:tc>
                  <a:txBody>
                    <a:bodyPr/>
                    <a:lstStyle/>
                    <a:p>
                      <a:pPr algn="ctr"/>
                      <a:r>
                        <a:rPr lang="en-US" sz="2000" dirty="0"/>
                        <a:t>Power Automate</a:t>
                      </a:r>
                    </a:p>
                    <a:p>
                      <a:endParaRPr lang="en-US" sz="2000" dirty="0"/>
                    </a:p>
                  </a:txBody>
                  <a:tcPr marL="70819" marR="70819" marT="35409" marB="35409"/>
                </a:tc>
                <a:extLst>
                  <a:ext uri="{0D108BD9-81ED-4DB2-BD59-A6C34878D82A}">
                    <a16:rowId xmlns:a16="http://schemas.microsoft.com/office/drawing/2014/main" val="4259342099"/>
                  </a:ext>
                </a:extLst>
              </a:tr>
              <a:tr h="811673">
                <a:tc>
                  <a:txBody>
                    <a:bodyPr/>
                    <a:lstStyle/>
                    <a:p>
                      <a:pPr algn="l" fontAlgn="ctr">
                        <a:spcBef>
                          <a:spcPts val="0"/>
                        </a:spcBef>
                        <a:spcAft>
                          <a:spcPts val="0"/>
                        </a:spcAft>
                      </a:pPr>
                      <a:r>
                        <a:rPr lang="en-US" sz="2000" u="none" strike="noStrike" dirty="0">
                          <a:effectLst/>
                        </a:rPr>
                        <a:t>Lookup Manager of a User</a:t>
                      </a:r>
                      <a:endParaRPr lang="en-US" sz="2000" b="0" i="0" u="none" strike="noStrike" dirty="0">
                        <a:effectLst/>
                        <a:latin typeface="Arial" panose="020B0604020202020204" pitchFamily="34" charset="0"/>
                      </a:endParaRPr>
                    </a:p>
                  </a:txBody>
                  <a:tcPr marL="70819" marR="70819" marT="59016" marB="59016" anchor="ctr"/>
                </a:tc>
                <a:tc>
                  <a:txBody>
                    <a:bodyPr/>
                    <a:lstStyle/>
                    <a:p>
                      <a:pPr algn="l" fontAlgn="ctr">
                        <a:spcBef>
                          <a:spcPts val="0"/>
                        </a:spcBef>
                        <a:spcAft>
                          <a:spcPts val="0"/>
                        </a:spcAft>
                      </a:pPr>
                      <a:r>
                        <a:rPr lang="en-US" sz="2000" u="none" strike="noStrike" dirty="0">
                          <a:effectLst/>
                        </a:rPr>
                        <a:t>Get manager</a:t>
                      </a:r>
                      <a:endParaRPr lang="en-US" sz="2000" b="0" i="0" u="none" strike="noStrike" dirty="0">
                        <a:effectLst/>
                        <a:latin typeface="Arial" panose="020B0604020202020204" pitchFamily="34" charset="0"/>
                      </a:endParaRPr>
                    </a:p>
                  </a:txBody>
                  <a:tcPr marL="70819" marR="70819" marT="59016" marB="59016" anchor="ctr"/>
                </a:tc>
                <a:extLst>
                  <a:ext uri="{0D108BD9-81ED-4DB2-BD59-A6C34878D82A}">
                    <a16:rowId xmlns:a16="http://schemas.microsoft.com/office/drawing/2014/main" val="1171666060"/>
                  </a:ext>
                </a:extLst>
              </a:tr>
              <a:tr h="811673">
                <a:tc>
                  <a:txBody>
                    <a:bodyPr/>
                    <a:lstStyle/>
                    <a:p>
                      <a:pPr algn="l" fontAlgn="ctr">
                        <a:spcBef>
                          <a:spcPts val="0"/>
                        </a:spcBef>
                        <a:spcAft>
                          <a:spcPts val="0"/>
                        </a:spcAft>
                      </a:pPr>
                      <a:r>
                        <a:rPr lang="en-US" sz="2000" u="none" strike="noStrike" dirty="0">
                          <a:effectLst/>
                        </a:rPr>
                        <a:t>Add List Item Permissions</a:t>
                      </a:r>
                      <a:endParaRPr lang="en-US" sz="2000" b="0" i="0" u="none" strike="noStrike" dirty="0">
                        <a:effectLst/>
                        <a:latin typeface="Arial" panose="020B0604020202020204" pitchFamily="34" charset="0"/>
                      </a:endParaRPr>
                    </a:p>
                  </a:txBody>
                  <a:tcPr marL="70819" marR="70819" marT="59016" marB="59016" anchor="ctr"/>
                </a:tc>
                <a:tc>
                  <a:txBody>
                    <a:bodyPr/>
                    <a:lstStyle/>
                    <a:p>
                      <a:pPr algn="l" fontAlgn="ctr">
                        <a:spcBef>
                          <a:spcPts val="0"/>
                        </a:spcBef>
                        <a:spcAft>
                          <a:spcPts val="0"/>
                        </a:spcAft>
                      </a:pPr>
                      <a:r>
                        <a:rPr lang="en-US" sz="2000" u="none" strike="noStrike" dirty="0">
                          <a:effectLst/>
                        </a:rPr>
                        <a:t>Grant access to an item or a folder</a:t>
                      </a:r>
                      <a:endParaRPr lang="en-US" sz="2000" b="0" i="0" u="none" strike="noStrike" dirty="0">
                        <a:effectLst/>
                        <a:latin typeface="Arial" panose="020B0604020202020204" pitchFamily="34" charset="0"/>
                      </a:endParaRPr>
                    </a:p>
                  </a:txBody>
                  <a:tcPr marL="70819" marR="70819" marT="59016" marB="59016" anchor="ctr"/>
                </a:tc>
                <a:extLst>
                  <a:ext uri="{0D108BD9-81ED-4DB2-BD59-A6C34878D82A}">
                    <a16:rowId xmlns:a16="http://schemas.microsoft.com/office/drawing/2014/main" val="3201427707"/>
                  </a:ext>
                </a:extLst>
              </a:tr>
              <a:tr h="81167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2000" u="none" strike="noStrike" dirty="0">
                          <a:effectLst/>
                        </a:rPr>
                        <a:t>Not Available</a:t>
                      </a:r>
                      <a:endParaRPr lang="en-US" sz="2000" b="0" i="0" u="none" strike="noStrike" dirty="0">
                        <a:effectLst/>
                        <a:latin typeface="Arial" panose="020B0604020202020204" pitchFamily="34" charset="0"/>
                      </a:endParaRPr>
                    </a:p>
                  </a:txBody>
                  <a:tcPr marL="70819" marR="70819" marT="59016" marB="59016" anchor="ctr"/>
                </a:tc>
                <a:tc>
                  <a:txBody>
                    <a:bodyPr/>
                    <a:lstStyle/>
                    <a:p>
                      <a:pPr marL="0" algn="l" defTabSz="914400" rtl="0" eaLnBrk="1" fontAlgn="ctr" latinLnBrk="0" hangingPunct="1">
                        <a:spcBef>
                          <a:spcPts val="0"/>
                        </a:spcBef>
                        <a:spcAft>
                          <a:spcPts val="0"/>
                        </a:spcAft>
                      </a:pPr>
                      <a:r>
                        <a:rPr lang="en-US" sz="2000" u="none" strike="noStrike" kern="1200" dirty="0">
                          <a:solidFill>
                            <a:schemeClr val="dk1"/>
                          </a:solidFill>
                          <a:effectLst/>
                          <a:latin typeface="+mn-lt"/>
                          <a:ea typeface="+mn-ea"/>
                          <a:cs typeface="+mn-cs"/>
                        </a:rPr>
                        <a:t>Stop sharing an item or a folder</a:t>
                      </a:r>
                    </a:p>
                  </a:txBody>
                  <a:tcPr marL="70819" marR="70819" marT="59016" marB="59016" anchor="ctr"/>
                </a:tc>
                <a:extLst>
                  <a:ext uri="{0D108BD9-81ED-4DB2-BD59-A6C34878D82A}">
                    <a16:rowId xmlns:a16="http://schemas.microsoft.com/office/drawing/2014/main" val="3602551983"/>
                  </a:ext>
                </a:extLst>
              </a:tr>
              <a:tr h="811673">
                <a:tc>
                  <a:txBody>
                    <a:bodyPr/>
                    <a:lstStyle/>
                    <a:p>
                      <a:pPr algn="l" fontAlgn="ctr">
                        <a:spcBef>
                          <a:spcPts val="0"/>
                        </a:spcBef>
                        <a:spcAft>
                          <a:spcPts val="0"/>
                        </a:spcAft>
                      </a:pPr>
                      <a:r>
                        <a:rPr lang="en-US" sz="2000" u="none" strike="noStrike" dirty="0">
                          <a:effectLst/>
                        </a:rPr>
                        <a:t>Inherit List Item Parent Permissions</a:t>
                      </a:r>
                      <a:endParaRPr lang="en-US" sz="2000" b="0" i="0" u="none" strike="noStrike" dirty="0">
                        <a:effectLst/>
                        <a:latin typeface="Arial" panose="020B0604020202020204" pitchFamily="34" charset="0"/>
                      </a:endParaRPr>
                    </a:p>
                  </a:txBody>
                  <a:tcPr marL="70819" marR="70819" marT="59016" marB="59016" anchor="ctr"/>
                </a:tc>
                <a:tc>
                  <a:txBody>
                    <a:bodyPr/>
                    <a:lstStyle/>
                    <a:p>
                      <a:pPr algn="l" fontAlgn="ctr">
                        <a:spcBef>
                          <a:spcPts val="0"/>
                        </a:spcBef>
                        <a:spcAft>
                          <a:spcPts val="0"/>
                        </a:spcAft>
                      </a:pPr>
                      <a:r>
                        <a:rPr lang="en-US" sz="2000" u="none" strike="noStrike" dirty="0">
                          <a:effectLst/>
                        </a:rPr>
                        <a:t>Not Available</a:t>
                      </a:r>
                      <a:endParaRPr lang="en-US" sz="2000" b="0" i="0" u="none" strike="noStrike" dirty="0">
                        <a:effectLst/>
                        <a:latin typeface="Arial" panose="020B0604020202020204" pitchFamily="34" charset="0"/>
                      </a:endParaRPr>
                    </a:p>
                  </a:txBody>
                  <a:tcPr marL="70819" marR="70819" marT="59016" marB="59016" anchor="ctr"/>
                </a:tc>
                <a:extLst>
                  <a:ext uri="{0D108BD9-81ED-4DB2-BD59-A6C34878D82A}">
                    <a16:rowId xmlns:a16="http://schemas.microsoft.com/office/drawing/2014/main" val="2008336626"/>
                  </a:ext>
                </a:extLst>
              </a:tr>
              <a:tr h="811673">
                <a:tc>
                  <a:txBody>
                    <a:bodyPr/>
                    <a:lstStyle/>
                    <a:p>
                      <a:pPr algn="l" fontAlgn="ctr">
                        <a:spcBef>
                          <a:spcPts val="0"/>
                        </a:spcBef>
                        <a:spcAft>
                          <a:spcPts val="0"/>
                        </a:spcAft>
                      </a:pPr>
                      <a:r>
                        <a:rPr lang="en-US" sz="2000" u="none" strike="noStrike" dirty="0">
                          <a:effectLst/>
                        </a:rPr>
                        <a:t>Remove List Item Permissions</a:t>
                      </a:r>
                      <a:endParaRPr lang="en-US" sz="2000" b="0" i="0" u="none" strike="noStrike" dirty="0">
                        <a:effectLst/>
                        <a:latin typeface="Arial" panose="020B0604020202020204" pitchFamily="34" charset="0"/>
                      </a:endParaRPr>
                    </a:p>
                  </a:txBody>
                  <a:tcPr marL="70819" marR="70819" marT="59016" marB="59016" anchor="ctr"/>
                </a:tc>
                <a:tc>
                  <a:txBody>
                    <a:bodyPr/>
                    <a:lstStyle/>
                    <a:p>
                      <a:pPr algn="l" fontAlgn="ctr">
                        <a:spcBef>
                          <a:spcPts val="0"/>
                        </a:spcBef>
                        <a:spcAft>
                          <a:spcPts val="0"/>
                        </a:spcAft>
                      </a:pPr>
                      <a:r>
                        <a:rPr lang="en-US" sz="2000" u="none" strike="noStrike" dirty="0">
                          <a:effectLst/>
                        </a:rPr>
                        <a:t>Not Available</a:t>
                      </a:r>
                      <a:endParaRPr lang="en-US" sz="2000" b="0" i="0" u="none" strike="noStrike" dirty="0">
                        <a:effectLst/>
                        <a:latin typeface="Arial" panose="020B0604020202020204" pitchFamily="34" charset="0"/>
                      </a:endParaRPr>
                    </a:p>
                  </a:txBody>
                  <a:tcPr marL="70819" marR="70819" marT="59016" marB="59016" anchor="ctr"/>
                </a:tc>
                <a:extLst>
                  <a:ext uri="{0D108BD9-81ED-4DB2-BD59-A6C34878D82A}">
                    <a16:rowId xmlns:a16="http://schemas.microsoft.com/office/drawing/2014/main" val="3727406561"/>
                  </a:ext>
                </a:extLst>
              </a:tr>
            </a:tbl>
          </a:graphicData>
        </a:graphic>
      </p:graphicFrame>
    </p:spTree>
    <p:extLst>
      <p:ext uri="{BB962C8B-B14F-4D97-AF65-F5344CB8AC3E}">
        <p14:creationId xmlns:p14="http://schemas.microsoft.com/office/powerpoint/2010/main" val="28041724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1" name="Rectangle 36">
            <a:extLst>
              <a:ext uri="{FF2B5EF4-FFF2-40B4-BE49-F238E27FC236}">
                <a16:creationId xmlns:a16="http://schemas.microsoft.com/office/drawing/2014/main" id="{C6FC42E6-6C25-4922-95D2-B97B1E1235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38">
            <a:extLst>
              <a:ext uri="{FF2B5EF4-FFF2-40B4-BE49-F238E27FC236}">
                <a16:creationId xmlns:a16="http://schemas.microsoft.com/office/drawing/2014/main" id="{0295F874-A8A5-4A14-8CFC-828968DE64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754" y="0"/>
            <a:ext cx="4731782"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5FF1A12-3A4D-492C-A7A2-A5C9C3D9D364}"/>
              </a:ext>
            </a:extLst>
          </p:cNvPr>
          <p:cNvSpPr>
            <a:spLocks noGrp="1"/>
          </p:cNvSpPr>
          <p:nvPr>
            <p:ph type="title"/>
          </p:nvPr>
        </p:nvSpPr>
        <p:spPr>
          <a:xfrm>
            <a:off x="100498" y="532896"/>
            <a:ext cx="4493277" cy="3759191"/>
          </a:xfrm>
          <a:prstGeom prst="ellipse">
            <a:avLst/>
          </a:prstGeom>
        </p:spPr>
        <p:txBody>
          <a:bodyPr vert="horz" lIns="91440" tIns="45720" rIns="91440" bIns="45720" rtlCol="0" anchor="b">
            <a:normAutofit fontScale="90000"/>
          </a:bodyPr>
          <a:lstStyle/>
          <a:p>
            <a:pPr algn="ctr"/>
            <a:br>
              <a:rPr lang="en-US" sz="2200" kern="1200" dirty="0">
                <a:solidFill>
                  <a:srgbClr val="595959"/>
                </a:solidFill>
                <a:latin typeface="+mj-lt"/>
                <a:ea typeface="+mj-ea"/>
                <a:cs typeface="+mj-cs"/>
              </a:rPr>
            </a:br>
            <a:r>
              <a:rPr lang="en-US" sz="3200" kern="1200" dirty="0">
                <a:solidFill>
                  <a:srgbClr val="595959"/>
                </a:solidFill>
                <a:latin typeface="+mj-lt"/>
                <a:ea typeface="+mj-ea"/>
                <a:cs typeface="+mj-cs"/>
              </a:rPr>
              <a:t>SharePoint Designer vs </a:t>
            </a:r>
            <a:br>
              <a:rPr lang="en-US" sz="3200" kern="1200" dirty="0">
                <a:solidFill>
                  <a:srgbClr val="595959"/>
                </a:solidFill>
                <a:latin typeface="+mj-lt"/>
                <a:ea typeface="+mj-ea"/>
                <a:cs typeface="+mj-cs"/>
              </a:rPr>
            </a:br>
            <a:r>
              <a:rPr lang="en-US" sz="3200" kern="1200" dirty="0">
                <a:solidFill>
                  <a:srgbClr val="595959"/>
                </a:solidFill>
                <a:latin typeface="+mj-lt"/>
                <a:ea typeface="+mj-ea"/>
                <a:cs typeface="+mj-cs"/>
              </a:rPr>
              <a:t>Power Automate </a:t>
            </a:r>
            <a:br>
              <a:rPr lang="en-US" sz="3200" kern="1200" dirty="0">
                <a:solidFill>
                  <a:srgbClr val="595959"/>
                </a:solidFill>
                <a:latin typeface="+mj-lt"/>
                <a:ea typeface="+mj-ea"/>
                <a:cs typeface="+mj-cs"/>
              </a:rPr>
            </a:br>
            <a:br>
              <a:rPr lang="en-US" sz="3200" kern="1200" dirty="0">
                <a:solidFill>
                  <a:srgbClr val="595959"/>
                </a:solidFill>
                <a:latin typeface="+mj-lt"/>
                <a:ea typeface="+mj-ea"/>
                <a:cs typeface="+mj-cs"/>
              </a:rPr>
            </a:br>
            <a:r>
              <a:rPr lang="en-US" sz="3200" b="1" kern="1200" dirty="0">
                <a:solidFill>
                  <a:srgbClr val="595959"/>
                </a:solidFill>
                <a:latin typeface="+mj-lt"/>
                <a:ea typeface="+mj-ea"/>
                <a:cs typeface="+mj-cs"/>
              </a:rPr>
              <a:t>Actions</a:t>
            </a:r>
            <a:r>
              <a:rPr lang="en-US" sz="3200" kern="1200" dirty="0">
                <a:solidFill>
                  <a:srgbClr val="595959"/>
                </a:solidFill>
                <a:latin typeface="+mj-lt"/>
                <a:ea typeface="+mj-ea"/>
                <a:cs typeface="+mj-cs"/>
              </a:rPr>
              <a:t> -</a:t>
            </a:r>
            <a:r>
              <a:rPr lang="en-US" sz="3200" b="1" kern="1200" dirty="0">
                <a:solidFill>
                  <a:srgbClr val="595959"/>
                </a:solidFill>
                <a:latin typeface="+mj-lt"/>
                <a:ea typeface="+mj-ea"/>
                <a:cs typeface="+mj-cs"/>
              </a:rPr>
              <a:t> Workflow</a:t>
            </a:r>
            <a:br>
              <a:rPr lang="en-US" sz="2200" kern="1200" dirty="0">
                <a:solidFill>
                  <a:srgbClr val="595959"/>
                </a:solidFill>
                <a:latin typeface="+mj-lt"/>
                <a:ea typeface="+mj-ea"/>
                <a:cs typeface="+mj-cs"/>
              </a:rPr>
            </a:br>
            <a:endParaRPr lang="en-US" sz="2200" kern="1200" dirty="0">
              <a:solidFill>
                <a:srgbClr val="595959"/>
              </a:solidFill>
              <a:latin typeface="+mj-lt"/>
              <a:ea typeface="+mj-ea"/>
              <a:cs typeface="+mj-cs"/>
            </a:endParaRPr>
          </a:p>
        </p:txBody>
      </p:sp>
      <p:graphicFrame>
        <p:nvGraphicFramePr>
          <p:cNvPr id="25" name="Table 4">
            <a:extLst>
              <a:ext uri="{FF2B5EF4-FFF2-40B4-BE49-F238E27FC236}">
                <a16:creationId xmlns:a16="http://schemas.microsoft.com/office/drawing/2014/main" id="{7B8DEB6A-1C5A-47E8-B51E-FBA1BC591DDE}"/>
              </a:ext>
            </a:extLst>
          </p:cNvPr>
          <p:cNvGraphicFramePr>
            <a:graphicFrameLocks noGrp="1"/>
          </p:cNvGraphicFramePr>
          <p:nvPr>
            <p:ph idx="1"/>
            <p:extLst>
              <p:ext uri="{D42A27DB-BD31-4B8C-83A1-F6EECF244321}">
                <p14:modId xmlns:p14="http://schemas.microsoft.com/office/powerpoint/2010/main" val="2396592559"/>
              </p:ext>
            </p:extLst>
          </p:nvPr>
        </p:nvGraphicFramePr>
        <p:xfrm>
          <a:off x="5597744" y="12111"/>
          <a:ext cx="6122240" cy="6817697"/>
        </p:xfrm>
        <a:graphic>
          <a:graphicData uri="http://schemas.openxmlformats.org/drawingml/2006/table">
            <a:tbl>
              <a:tblPr firstRow="1" bandRow="1">
                <a:tableStyleId>{5C22544A-7EE6-4342-B048-85BDC9FD1C3A}</a:tableStyleId>
              </a:tblPr>
              <a:tblGrid>
                <a:gridCol w="2167977">
                  <a:extLst>
                    <a:ext uri="{9D8B030D-6E8A-4147-A177-3AD203B41FA5}">
                      <a16:colId xmlns:a16="http://schemas.microsoft.com/office/drawing/2014/main" val="2596463080"/>
                    </a:ext>
                  </a:extLst>
                </a:gridCol>
                <a:gridCol w="3954263">
                  <a:extLst>
                    <a:ext uri="{9D8B030D-6E8A-4147-A177-3AD203B41FA5}">
                      <a16:colId xmlns:a16="http://schemas.microsoft.com/office/drawing/2014/main" val="2717786206"/>
                    </a:ext>
                  </a:extLst>
                </a:gridCol>
              </a:tblGrid>
              <a:tr h="617617">
                <a:tc>
                  <a:txBody>
                    <a:bodyPr/>
                    <a:lstStyle/>
                    <a:p>
                      <a:pPr algn="ctr"/>
                      <a:r>
                        <a:rPr lang="en-US" sz="1600" b="1" dirty="0">
                          <a:solidFill>
                            <a:schemeClr val="bg1"/>
                          </a:solidFill>
                        </a:rPr>
                        <a:t>SharePoint Designer</a:t>
                      </a:r>
                    </a:p>
                    <a:p>
                      <a:endParaRPr lang="en-US" sz="1600" b="1" dirty="0">
                        <a:solidFill>
                          <a:schemeClr val="tx1">
                            <a:lumMod val="75000"/>
                            <a:lumOff val="25000"/>
                          </a:schemeClr>
                        </a:solidFill>
                      </a:endParaRPr>
                    </a:p>
                  </a:txBody>
                  <a:tcPr marL="144986" marR="61990" marT="72493" marB="72493"/>
                </a:tc>
                <a:tc>
                  <a:txBody>
                    <a:bodyPr/>
                    <a:lstStyle/>
                    <a:p>
                      <a:pPr algn="ctr"/>
                      <a:r>
                        <a:rPr lang="en-US" sz="1600" b="1" dirty="0">
                          <a:solidFill>
                            <a:schemeClr val="bg1"/>
                          </a:solidFill>
                        </a:rPr>
                        <a:t>Power Automate</a:t>
                      </a:r>
                    </a:p>
                    <a:p>
                      <a:endParaRPr lang="en-US" sz="1600" b="1" dirty="0">
                        <a:solidFill>
                          <a:schemeClr val="tx1">
                            <a:lumMod val="75000"/>
                            <a:lumOff val="25000"/>
                          </a:schemeClr>
                        </a:solidFill>
                      </a:endParaRPr>
                    </a:p>
                  </a:txBody>
                  <a:tcPr marL="144986" marR="61990" marT="72493" marB="72493"/>
                </a:tc>
                <a:extLst>
                  <a:ext uri="{0D108BD9-81ED-4DB2-BD59-A6C34878D82A}">
                    <a16:rowId xmlns:a16="http://schemas.microsoft.com/office/drawing/2014/main" val="4259342099"/>
                  </a:ext>
                </a:extLst>
              </a:tr>
              <a:tr h="617617">
                <a:tc>
                  <a:txBody>
                    <a:bodyPr/>
                    <a:lstStyle/>
                    <a:p>
                      <a:pPr marL="0" algn="l" defTabSz="914400" rtl="0" eaLnBrk="1" fontAlgn="ctr" latinLnBrk="0" hangingPunct="1">
                        <a:spcBef>
                          <a:spcPts val="0"/>
                        </a:spcBef>
                        <a:spcAft>
                          <a:spcPts val="0"/>
                        </a:spcAft>
                      </a:pPr>
                      <a:r>
                        <a:rPr lang="en-US" sz="1600" u="none" strike="noStrike" kern="1200" dirty="0">
                          <a:solidFill>
                            <a:schemeClr val="tx1">
                              <a:lumMod val="75000"/>
                              <a:lumOff val="25000"/>
                            </a:schemeClr>
                          </a:solidFill>
                          <a:effectLst/>
                        </a:rPr>
                        <a:t>Add a Comment</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tc>
                  <a:txBody>
                    <a:bodyPr/>
                    <a:lstStyle/>
                    <a:p>
                      <a:r>
                        <a:rPr lang="en-US" sz="1600" u="none" strike="noStrike" kern="1200" dirty="0">
                          <a:solidFill>
                            <a:schemeClr val="tx1">
                              <a:lumMod val="75000"/>
                              <a:lumOff val="25000"/>
                            </a:schemeClr>
                          </a:solidFill>
                          <a:effectLst/>
                        </a:rPr>
                        <a:t>Rename and add comments within any action or condition</a:t>
                      </a:r>
                      <a:endParaRPr lang="en-US" sz="1600" dirty="0">
                        <a:solidFill>
                          <a:schemeClr val="tx1">
                            <a:lumMod val="75000"/>
                            <a:lumOff val="25000"/>
                          </a:schemeClr>
                        </a:solidFill>
                      </a:endParaRPr>
                    </a:p>
                  </a:txBody>
                  <a:tcPr marL="144986" marR="52677" marT="72493" marB="72493" anchor="ctr"/>
                </a:tc>
                <a:extLst>
                  <a:ext uri="{0D108BD9-81ED-4DB2-BD59-A6C34878D82A}">
                    <a16:rowId xmlns:a16="http://schemas.microsoft.com/office/drawing/2014/main" val="1171666060"/>
                  </a:ext>
                </a:extLst>
              </a:tr>
              <a:tr h="80131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600" u="none" strike="noStrike" kern="1200" dirty="0">
                          <a:solidFill>
                            <a:schemeClr val="tx1">
                              <a:lumMod val="75000"/>
                              <a:lumOff val="25000"/>
                            </a:schemeClr>
                          </a:solidFill>
                          <a:effectLst/>
                        </a:rPr>
                        <a:t>Set Workflow Status</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tc>
                  <a:txBody>
                    <a:bodyPr/>
                    <a:lstStyle/>
                    <a:p>
                      <a:r>
                        <a:rPr lang="en-US" sz="1600" u="none" strike="noStrike" kern="1200" dirty="0">
                          <a:solidFill>
                            <a:schemeClr val="tx1">
                              <a:lumMod val="75000"/>
                              <a:lumOff val="25000"/>
                            </a:schemeClr>
                          </a:solidFill>
                          <a:effectLst/>
                        </a:rPr>
                        <a:t>Not applicable. Unless you want to set a field in a SharePoint list item or a database record.</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extLst>
                  <a:ext uri="{0D108BD9-81ED-4DB2-BD59-A6C34878D82A}">
                    <a16:rowId xmlns:a16="http://schemas.microsoft.com/office/drawing/2014/main" val="1127249631"/>
                  </a:ext>
                </a:extLst>
              </a:tr>
              <a:tr h="855657">
                <a:tc>
                  <a:txBody>
                    <a:bodyPr/>
                    <a:lstStyle/>
                    <a:p>
                      <a:pPr marL="0" algn="l" defTabSz="914400" rtl="0" eaLnBrk="1" fontAlgn="ctr" latinLnBrk="0" hangingPunct="1">
                        <a:spcBef>
                          <a:spcPts val="0"/>
                        </a:spcBef>
                        <a:spcAft>
                          <a:spcPts val="0"/>
                        </a:spcAft>
                      </a:pPr>
                      <a:r>
                        <a:rPr lang="en-US" sz="1600" u="none" strike="noStrike" kern="1200" dirty="0">
                          <a:solidFill>
                            <a:schemeClr val="tx1">
                              <a:lumMod val="75000"/>
                              <a:lumOff val="25000"/>
                            </a:schemeClr>
                          </a:solidFill>
                          <a:effectLst/>
                        </a:rPr>
                        <a:t>Log to History List</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tc>
                  <a:txBody>
                    <a:bodyPr/>
                    <a:lstStyle/>
                    <a:p>
                      <a:r>
                        <a:rPr lang="en-US" sz="1600" u="none" strike="noStrike" kern="1200" dirty="0">
                          <a:solidFill>
                            <a:schemeClr val="tx1">
                              <a:lumMod val="75000"/>
                              <a:lumOff val="25000"/>
                            </a:schemeClr>
                          </a:solidFill>
                          <a:effectLst/>
                        </a:rPr>
                        <a:t>No built-in monitoring status of actions in progress within SharePoint – other alternatives </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extLst>
                  <a:ext uri="{0D108BD9-81ED-4DB2-BD59-A6C34878D82A}">
                    <a16:rowId xmlns:a16="http://schemas.microsoft.com/office/drawing/2014/main" val="3201427707"/>
                  </a:ext>
                </a:extLst>
              </a:tr>
              <a:tr h="574216">
                <a:tc>
                  <a:txBody>
                    <a:bodyPr/>
                    <a:lstStyle/>
                    <a:p>
                      <a:pPr marL="0" algn="l" defTabSz="914400" rtl="0" eaLnBrk="1" fontAlgn="ctr" latinLnBrk="0" hangingPunct="1">
                        <a:spcBef>
                          <a:spcPts val="0"/>
                        </a:spcBef>
                        <a:spcAft>
                          <a:spcPts val="0"/>
                        </a:spcAft>
                      </a:pPr>
                      <a:r>
                        <a:rPr lang="en-US" sz="1600" u="none" strike="noStrike" kern="1200" dirty="0">
                          <a:solidFill>
                            <a:schemeClr val="tx1">
                              <a:lumMod val="75000"/>
                              <a:lumOff val="25000"/>
                            </a:schemeClr>
                          </a:solidFill>
                          <a:effectLst/>
                        </a:rPr>
                        <a:t>Set Workflow Variable</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tc>
                  <a:txBody>
                    <a:bodyPr/>
                    <a:lstStyle/>
                    <a:p>
                      <a:r>
                        <a:rPr lang="en-US" sz="1600" u="none" strike="noStrike" dirty="0">
                          <a:solidFill>
                            <a:schemeClr val="tx1">
                              <a:lumMod val="75000"/>
                              <a:lumOff val="25000"/>
                            </a:schemeClr>
                          </a:solidFill>
                          <a:effectLst/>
                        </a:rPr>
                        <a:t>Variables are very Powerful Advanced feature</a:t>
                      </a:r>
                      <a:endParaRPr lang="en-US" sz="1600" dirty="0">
                        <a:solidFill>
                          <a:schemeClr val="tx1">
                            <a:lumMod val="75000"/>
                            <a:lumOff val="25000"/>
                          </a:schemeClr>
                        </a:solidFill>
                      </a:endParaRPr>
                    </a:p>
                  </a:txBody>
                  <a:tcPr marL="144986" marR="52677" marT="72493" marB="72493" anchor="ctr"/>
                </a:tc>
                <a:extLst>
                  <a:ext uri="{0D108BD9-81ED-4DB2-BD59-A6C34878D82A}">
                    <a16:rowId xmlns:a16="http://schemas.microsoft.com/office/drawing/2014/main" val="3602551983"/>
                  </a:ext>
                </a:extLst>
              </a:tr>
              <a:tr h="617617">
                <a:tc>
                  <a:txBody>
                    <a:bodyPr/>
                    <a:lstStyle/>
                    <a:p>
                      <a:pPr marL="0" algn="l" defTabSz="914400" rtl="0" eaLnBrk="1" fontAlgn="ctr" latinLnBrk="0" hangingPunct="1">
                        <a:spcBef>
                          <a:spcPts val="0"/>
                        </a:spcBef>
                        <a:spcAft>
                          <a:spcPts val="0"/>
                        </a:spcAft>
                      </a:pPr>
                      <a:r>
                        <a:rPr lang="en-US" sz="1600" u="none" strike="noStrike" kern="1200" dirty="0">
                          <a:solidFill>
                            <a:schemeClr val="tx1">
                              <a:lumMod val="75000"/>
                              <a:lumOff val="25000"/>
                            </a:schemeClr>
                          </a:solidFill>
                          <a:effectLst/>
                        </a:rPr>
                        <a:t>Start a List Workflow</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tc>
                  <a:txBody>
                    <a:bodyPr/>
                    <a:lstStyle/>
                    <a:p>
                      <a:r>
                        <a:rPr lang="en-US" sz="1600" u="none" strike="noStrike" dirty="0">
                          <a:solidFill>
                            <a:schemeClr val="tx1">
                              <a:lumMod val="75000"/>
                              <a:lumOff val="25000"/>
                            </a:schemeClr>
                          </a:solidFill>
                          <a:effectLst/>
                        </a:rPr>
                        <a:t>Starting a SharePoint Designer workflow then you could use the REST API </a:t>
                      </a:r>
                      <a:endParaRPr lang="en-US" sz="1600" dirty="0">
                        <a:solidFill>
                          <a:schemeClr val="tx1">
                            <a:lumMod val="75000"/>
                            <a:lumOff val="25000"/>
                          </a:schemeClr>
                        </a:solidFill>
                      </a:endParaRPr>
                    </a:p>
                  </a:txBody>
                  <a:tcPr marL="144986" marR="52677" marT="72493" marB="72493" anchor="ctr"/>
                </a:tc>
                <a:extLst>
                  <a:ext uri="{0D108BD9-81ED-4DB2-BD59-A6C34878D82A}">
                    <a16:rowId xmlns:a16="http://schemas.microsoft.com/office/drawing/2014/main" val="2008336626"/>
                  </a:ext>
                </a:extLst>
              </a:tr>
              <a:tr h="617617">
                <a:tc>
                  <a:txBody>
                    <a:bodyPr/>
                    <a:lstStyle/>
                    <a:p>
                      <a:pPr marL="0" algn="l" defTabSz="914400" rtl="0" eaLnBrk="1" fontAlgn="ctr" latinLnBrk="0" hangingPunct="1">
                        <a:spcBef>
                          <a:spcPts val="0"/>
                        </a:spcBef>
                        <a:spcAft>
                          <a:spcPts val="0"/>
                        </a:spcAft>
                      </a:pPr>
                      <a:r>
                        <a:rPr lang="en-US" sz="1600" u="none" strike="noStrike" kern="1200" dirty="0">
                          <a:solidFill>
                            <a:schemeClr val="tx1">
                              <a:lumMod val="75000"/>
                              <a:lumOff val="25000"/>
                            </a:schemeClr>
                          </a:solidFill>
                          <a:effectLst/>
                        </a:rPr>
                        <a:t>Start a Site Workflow</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tc>
                  <a:txBody>
                    <a:bodyPr/>
                    <a:lstStyle/>
                    <a:p>
                      <a:r>
                        <a:rPr lang="en-US" sz="1600" u="none" strike="noStrike" dirty="0">
                          <a:solidFill>
                            <a:schemeClr val="tx1">
                              <a:lumMod val="75000"/>
                              <a:lumOff val="25000"/>
                            </a:schemeClr>
                          </a:solidFill>
                          <a:effectLst/>
                        </a:rPr>
                        <a:t>Starting a SharePoint Designer workflow then you could use the REST API </a:t>
                      </a:r>
                      <a:endParaRPr lang="en-US" sz="1600" dirty="0">
                        <a:solidFill>
                          <a:schemeClr val="tx1">
                            <a:lumMod val="75000"/>
                            <a:lumOff val="25000"/>
                          </a:schemeClr>
                        </a:solidFill>
                      </a:endParaRPr>
                    </a:p>
                  </a:txBody>
                  <a:tcPr marL="144986" marR="52677" marT="72493" marB="72493" anchor="ctr"/>
                </a:tc>
                <a:extLst>
                  <a:ext uri="{0D108BD9-81ED-4DB2-BD59-A6C34878D82A}">
                    <a16:rowId xmlns:a16="http://schemas.microsoft.com/office/drawing/2014/main" val="1067229803"/>
                  </a:ext>
                </a:extLst>
              </a:tr>
              <a:tr h="624682">
                <a:tc>
                  <a:txBody>
                    <a:bodyPr/>
                    <a:lstStyle/>
                    <a:p>
                      <a:pPr marL="0" algn="l" defTabSz="914400" rtl="0" eaLnBrk="1" fontAlgn="ctr" latinLnBrk="0" hangingPunct="1">
                        <a:spcBef>
                          <a:spcPts val="0"/>
                        </a:spcBef>
                        <a:spcAft>
                          <a:spcPts val="0"/>
                        </a:spcAft>
                      </a:pPr>
                      <a:r>
                        <a:rPr lang="en-US" sz="1600" u="none" strike="noStrike" kern="1200" dirty="0">
                          <a:solidFill>
                            <a:schemeClr val="tx1">
                              <a:lumMod val="75000"/>
                              <a:lumOff val="25000"/>
                            </a:schemeClr>
                          </a:solidFill>
                          <a:effectLst/>
                        </a:rPr>
                        <a:t>Collect Data from a User</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tc>
                  <a:txBody>
                    <a:bodyPr/>
                    <a:lstStyle/>
                    <a:p>
                      <a:r>
                        <a:rPr lang="en-US" sz="1600" u="none" strike="noStrike" dirty="0">
                          <a:solidFill>
                            <a:schemeClr val="tx1">
                              <a:lumMod val="75000"/>
                              <a:lumOff val="25000"/>
                            </a:schemeClr>
                          </a:solidFill>
                          <a:effectLst/>
                        </a:rPr>
                        <a:t>Power Apps / SharePoint List </a:t>
                      </a:r>
                      <a:endParaRPr lang="en-US" sz="1600" dirty="0">
                        <a:solidFill>
                          <a:schemeClr val="tx1">
                            <a:lumMod val="75000"/>
                            <a:lumOff val="25000"/>
                          </a:schemeClr>
                        </a:solidFill>
                      </a:endParaRPr>
                    </a:p>
                  </a:txBody>
                  <a:tcPr marL="144986" marR="52677" marT="72493" marB="72493" anchor="ctr"/>
                </a:tc>
                <a:extLst>
                  <a:ext uri="{0D108BD9-81ED-4DB2-BD59-A6C34878D82A}">
                    <a16:rowId xmlns:a16="http://schemas.microsoft.com/office/drawing/2014/main" val="2217199895"/>
                  </a:ext>
                </a:extLst>
              </a:tr>
              <a:tr h="379577">
                <a:tc>
                  <a:txBody>
                    <a:bodyPr/>
                    <a:lstStyle/>
                    <a:p>
                      <a:pPr marL="0" algn="l" defTabSz="914400" rtl="0" eaLnBrk="1" fontAlgn="ctr" latinLnBrk="0" hangingPunct="1">
                        <a:spcBef>
                          <a:spcPts val="0"/>
                        </a:spcBef>
                        <a:spcAft>
                          <a:spcPts val="0"/>
                        </a:spcAft>
                      </a:pPr>
                      <a:r>
                        <a:rPr lang="en-US" sz="1600" u="none" strike="noStrike" kern="1200" dirty="0">
                          <a:solidFill>
                            <a:schemeClr val="tx1">
                              <a:lumMod val="75000"/>
                              <a:lumOff val="25000"/>
                            </a:schemeClr>
                          </a:solidFill>
                          <a:effectLst/>
                        </a:rPr>
                        <a:t>Go to Stage</a:t>
                      </a:r>
                      <a:endParaRPr lang="en-US" sz="1600" u="none" strike="noStrike" kern="1200" dirty="0">
                        <a:solidFill>
                          <a:schemeClr val="tx1">
                            <a:lumMod val="75000"/>
                            <a:lumOff val="25000"/>
                          </a:schemeClr>
                        </a:solidFill>
                        <a:effectLst/>
                        <a:latin typeface="+mn-lt"/>
                        <a:ea typeface="+mn-ea"/>
                        <a:cs typeface="+mn-cs"/>
                      </a:endParaRPr>
                    </a:p>
                  </a:txBody>
                  <a:tcPr marL="144986" marR="52677" marT="72493" marB="72493" anchor="ctr"/>
                </a:tc>
                <a:tc>
                  <a:txBody>
                    <a:bodyPr/>
                    <a:lstStyle/>
                    <a:p>
                      <a:r>
                        <a:rPr lang="en-US" sz="1600" u="none" strike="noStrike" dirty="0">
                          <a:solidFill>
                            <a:schemeClr val="tx1">
                              <a:lumMod val="75000"/>
                              <a:lumOff val="25000"/>
                            </a:schemeClr>
                          </a:solidFill>
                          <a:effectLst/>
                        </a:rPr>
                        <a:t>Do until</a:t>
                      </a:r>
                      <a:endParaRPr lang="en-US" sz="1600" dirty="0">
                        <a:solidFill>
                          <a:schemeClr val="tx1">
                            <a:lumMod val="75000"/>
                            <a:lumOff val="25000"/>
                          </a:schemeClr>
                        </a:solidFill>
                      </a:endParaRPr>
                    </a:p>
                  </a:txBody>
                  <a:tcPr marL="144986" marR="52677" marT="72493" marB="72493" anchor="ctr"/>
                </a:tc>
                <a:extLst>
                  <a:ext uri="{0D108BD9-81ED-4DB2-BD59-A6C34878D82A}">
                    <a16:rowId xmlns:a16="http://schemas.microsoft.com/office/drawing/2014/main" val="1805617015"/>
                  </a:ext>
                </a:extLst>
              </a:tr>
              <a:tr h="624682">
                <a:tc>
                  <a:txBody>
                    <a:bodyPr/>
                    <a:lstStyle/>
                    <a:p>
                      <a:pPr algn="l" fontAlgn="ctr">
                        <a:spcBef>
                          <a:spcPts val="0"/>
                        </a:spcBef>
                        <a:spcAft>
                          <a:spcPts val="0"/>
                        </a:spcAft>
                      </a:pPr>
                      <a:r>
                        <a:rPr lang="en-US" sz="1600" u="none" strike="noStrike" dirty="0">
                          <a:solidFill>
                            <a:schemeClr val="tx1">
                              <a:lumMod val="75000"/>
                              <a:lumOff val="25000"/>
                            </a:schemeClr>
                          </a:solidFill>
                          <a:effectLst/>
                        </a:rPr>
                        <a:t>Pause for Duration</a:t>
                      </a:r>
                      <a:endParaRPr lang="en-US" sz="1600" b="0" i="0" u="none" strike="noStrike" dirty="0">
                        <a:solidFill>
                          <a:schemeClr val="tx1">
                            <a:lumMod val="75000"/>
                            <a:lumOff val="25000"/>
                          </a:schemeClr>
                        </a:solidFill>
                        <a:effectLst/>
                        <a:latin typeface="Arial" panose="020B0604020202020204" pitchFamily="34" charset="0"/>
                      </a:endParaRPr>
                    </a:p>
                  </a:txBody>
                  <a:tcPr marL="144986" marR="52677" marT="72493" marB="72493" anchor="ctr"/>
                </a:tc>
                <a:tc>
                  <a:txBody>
                    <a:bodyPr/>
                    <a:lstStyle/>
                    <a:p>
                      <a:r>
                        <a:rPr lang="en-US" sz="1600" u="none" strike="noStrike" dirty="0">
                          <a:solidFill>
                            <a:schemeClr val="tx1">
                              <a:lumMod val="75000"/>
                              <a:lumOff val="25000"/>
                            </a:schemeClr>
                          </a:solidFill>
                          <a:effectLst/>
                        </a:rPr>
                        <a:t>Delay</a:t>
                      </a:r>
                      <a:endParaRPr lang="en-US" sz="1600" dirty="0">
                        <a:solidFill>
                          <a:schemeClr val="tx1">
                            <a:lumMod val="75000"/>
                            <a:lumOff val="25000"/>
                          </a:schemeClr>
                        </a:solidFill>
                      </a:endParaRPr>
                    </a:p>
                  </a:txBody>
                  <a:tcPr marL="144986" marR="52677" marT="72493" marB="72493" anchor="ctr"/>
                </a:tc>
                <a:extLst>
                  <a:ext uri="{0D108BD9-81ED-4DB2-BD59-A6C34878D82A}">
                    <a16:rowId xmlns:a16="http://schemas.microsoft.com/office/drawing/2014/main" val="4092351216"/>
                  </a:ext>
                </a:extLst>
              </a:tr>
              <a:tr h="379577">
                <a:tc>
                  <a:txBody>
                    <a:bodyPr/>
                    <a:lstStyle/>
                    <a:p>
                      <a:pPr algn="l" fontAlgn="ctr">
                        <a:spcBef>
                          <a:spcPts val="0"/>
                        </a:spcBef>
                        <a:spcAft>
                          <a:spcPts val="0"/>
                        </a:spcAft>
                      </a:pPr>
                      <a:r>
                        <a:rPr lang="en-US" sz="1600" u="none" strike="noStrike" dirty="0">
                          <a:solidFill>
                            <a:schemeClr val="tx1">
                              <a:lumMod val="75000"/>
                              <a:lumOff val="25000"/>
                            </a:schemeClr>
                          </a:solidFill>
                          <a:effectLst/>
                        </a:rPr>
                        <a:t>Pause until Date</a:t>
                      </a:r>
                      <a:endParaRPr lang="en-US" sz="1600" b="0" i="0" u="none" strike="noStrike" dirty="0">
                        <a:solidFill>
                          <a:schemeClr val="tx1">
                            <a:lumMod val="75000"/>
                            <a:lumOff val="25000"/>
                          </a:schemeClr>
                        </a:solidFill>
                        <a:effectLst/>
                        <a:latin typeface="Arial" panose="020B0604020202020204" pitchFamily="34" charset="0"/>
                      </a:endParaRPr>
                    </a:p>
                  </a:txBody>
                  <a:tcPr marL="144986" marR="52677" marT="72493" marB="72493" anchor="ctr"/>
                </a:tc>
                <a:tc>
                  <a:txBody>
                    <a:bodyPr/>
                    <a:lstStyle/>
                    <a:p>
                      <a:r>
                        <a:rPr lang="en-US" sz="1600" u="none" strike="noStrike" dirty="0">
                          <a:solidFill>
                            <a:schemeClr val="tx1">
                              <a:lumMod val="75000"/>
                              <a:lumOff val="25000"/>
                            </a:schemeClr>
                          </a:solidFill>
                          <a:effectLst/>
                        </a:rPr>
                        <a:t>Delay until</a:t>
                      </a:r>
                      <a:endParaRPr lang="en-US" sz="1600" dirty="0">
                        <a:solidFill>
                          <a:schemeClr val="tx1">
                            <a:lumMod val="75000"/>
                            <a:lumOff val="25000"/>
                          </a:schemeClr>
                        </a:solidFill>
                      </a:endParaRPr>
                    </a:p>
                  </a:txBody>
                  <a:tcPr marL="144986" marR="52677" marT="72493" marB="72493" anchor="ctr"/>
                </a:tc>
                <a:extLst>
                  <a:ext uri="{0D108BD9-81ED-4DB2-BD59-A6C34878D82A}">
                    <a16:rowId xmlns:a16="http://schemas.microsoft.com/office/drawing/2014/main" val="3727406561"/>
                  </a:ext>
                </a:extLst>
              </a:tr>
            </a:tbl>
          </a:graphicData>
        </a:graphic>
      </p:graphicFrame>
    </p:spTree>
    <p:extLst>
      <p:ext uri="{BB962C8B-B14F-4D97-AF65-F5344CB8AC3E}">
        <p14:creationId xmlns:p14="http://schemas.microsoft.com/office/powerpoint/2010/main" val="32812486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1" name="Rectangle 40">
            <a:extLst>
              <a:ext uri="{FF2B5EF4-FFF2-40B4-BE49-F238E27FC236}">
                <a16:creationId xmlns:a16="http://schemas.microsoft.com/office/drawing/2014/main" id="{6E47FE40-F70B-4BF4-9CEA-F14800A6A3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78826778-2F54-4F8E-BA27-C95E488D33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483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5FF1A12-3A4D-492C-A7A2-A5C9C3D9D364}"/>
              </a:ext>
            </a:extLst>
          </p:cNvPr>
          <p:cNvSpPr>
            <a:spLocks noGrp="1"/>
          </p:cNvSpPr>
          <p:nvPr>
            <p:ph type="title"/>
          </p:nvPr>
        </p:nvSpPr>
        <p:spPr>
          <a:xfrm>
            <a:off x="672175" y="993122"/>
            <a:ext cx="4022730" cy="3226959"/>
          </a:xfrm>
        </p:spPr>
        <p:txBody>
          <a:bodyPr vert="horz" lIns="91440" tIns="45720" rIns="91440" bIns="45720" rtlCol="0" anchor="b">
            <a:normAutofit fontScale="90000"/>
          </a:bodyPr>
          <a:lstStyle/>
          <a:p>
            <a:pPr algn="ctr"/>
            <a:br>
              <a:rPr lang="en-US" sz="2700" kern="1200" dirty="0">
                <a:solidFill>
                  <a:srgbClr val="595959"/>
                </a:solidFill>
                <a:latin typeface="+mj-lt"/>
                <a:ea typeface="+mj-ea"/>
                <a:cs typeface="+mj-cs"/>
              </a:rPr>
            </a:br>
            <a:r>
              <a:rPr lang="en-US" sz="3600" kern="1200" dirty="0">
                <a:solidFill>
                  <a:srgbClr val="595959"/>
                </a:solidFill>
                <a:latin typeface="+mj-lt"/>
                <a:ea typeface="+mj-ea"/>
                <a:cs typeface="+mj-cs"/>
              </a:rPr>
              <a:t>SharePoint Designer </a:t>
            </a:r>
            <a:br>
              <a:rPr lang="en-US" sz="3600" kern="1200" dirty="0">
                <a:solidFill>
                  <a:srgbClr val="595959"/>
                </a:solidFill>
                <a:latin typeface="+mj-lt"/>
                <a:ea typeface="+mj-ea"/>
                <a:cs typeface="+mj-cs"/>
              </a:rPr>
            </a:br>
            <a:r>
              <a:rPr lang="en-US" sz="3600" kern="1200" dirty="0">
                <a:solidFill>
                  <a:srgbClr val="595959"/>
                </a:solidFill>
                <a:latin typeface="+mj-lt"/>
                <a:ea typeface="+mj-ea"/>
                <a:cs typeface="+mj-cs"/>
              </a:rPr>
              <a:t>vs </a:t>
            </a:r>
            <a:br>
              <a:rPr lang="en-US" sz="3600" kern="1200" dirty="0">
                <a:solidFill>
                  <a:srgbClr val="595959"/>
                </a:solidFill>
                <a:latin typeface="+mj-lt"/>
                <a:ea typeface="+mj-ea"/>
                <a:cs typeface="+mj-cs"/>
              </a:rPr>
            </a:br>
            <a:r>
              <a:rPr lang="en-US" sz="3600" kern="1200" dirty="0">
                <a:solidFill>
                  <a:srgbClr val="595959"/>
                </a:solidFill>
                <a:latin typeface="+mj-lt"/>
                <a:ea typeface="+mj-ea"/>
                <a:cs typeface="+mj-cs"/>
              </a:rPr>
              <a:t>Power Automate </a:t>
            </a:r>
            <a:br>
              <a:rPr lang="en-US" sz="3600" kern="1200" dirty="0">
                <a:solidFill>
                  <a:srgbClr val="595959"/>
                </a:solidFill>
                <a:latin typeface="+mj-lt"/>
                <a:ea typeface="+mj-ea"/>
                <a:cs typeface="+mj-cs"/>
              </a:rPr>
            </a:br>
            <a:br>
              <a:rPr lang="en-US" sz="3600" kern="1200" dirty="0">
                <a:solidFill>
                  <a:srgbClr val="595959"/>
                </a:solidFill>
                <a:latin typeface="+mj-lt"/>
                <a:ea typeface="+mj-ea"/>
                <a:cs typeface="+mj-cs"/>
              </a:rPr>
            </a:br>
            <a:r>
              <a:rPr lang="en-US" sz="3600" b="1" kern="1200" dirty="0">
                <a:solidFill>
                  <a:srgbClr val="595959"/>
                </a:solidFill>
                <a:latin typeface="+mj-lt"/>
                <a:ea typeface="+mj-ea"/>
                <a:cs typeface="+mj-cs"/>
              </a:rPr>
              <a:t>Actions</a:t>
            </a:r>
            <a:r>
              <a:rPr lang="en-US" sz="3600" kern="1200" dirty="0">
                <a:solidFill>
                  <a:srgbClr val="595959"/>
                </a:solidFill>
                <a:latin typeface="+mj-lt"/>
                <a:ea typeface="+mj-ea"/>
                <a:cs typeface="+mj-cs"/>
              </a:rPr>
              <a:t> -</a:t>
            </a:r>
            <a:r>
              <a:rPr lang="en-US" sz="3600" b="1" kern="1200" dirty="0">
                <a:solidFill>
                  <a:srgbClr val="595959"/>
                </a:solidFill>
                <a:latin typeface="+mj-lt"/>
                <a:ea typeface="+mj-ea"/>
                <a:cs typeface="+mj-cs"/>
              </a:rPr>
              <a:t> Tasks</a:t>
            </a:r>
            <a:br>
              <a:rPr lang="en-US" sz="3600" kern="1200" dirty="0">
                <a:solidFill>
                  <a:srgbClr val="595959"/>
                </a:solidFill>
                <a:latin typeface="+mj-lt"/>
                <a:ea typeface="+mj-ea"/>
                <a:cs typeface="+mj-cs"/>
              </a:rPr>
            </a:br>
            <a:endParaRPr lang="en-US" sz="3600" kern="1200" dirty="0">
              <a:solidFill>
                <a:srgbClr val="595959"/>
              </a:solidFill>
              <a:latin typeface="+mj-lt"/>
              <a:ea typeface="+mj-ea"/>
              <a:cs typeface="+mj-cs"/>
            </a:endParaRPr>
          </a:p>
        </p:txBody>
      </p:sp>
      <p:graphicFrame>
        <p:nvGraphicFramePr>
          <p:cNvPr id="15" name="Table 4">
            <a:extLst>
              <a:ext uri="{FF2B5EF4-FFF2-40B4-BE49-F238E27FC236}">
                <a16:creationId xmlns:a16="http://schemas.microsoft.com/office/drawing/2014/main" id="{7B8DEB6A-1C5A-47E8-B51E-FBA1BC591DDE}"/>
              </a:ext>
            </a:extLst>
          </p:cNvPr>
          <p:cNvGraphicFramePr>
            <a:graphicFrameLocks noGrp="1"/>
          </p:cNvGraphicFramePr>
          <p:nvPr>
            <p:ph idx="1"/>
            <p:extLst>
              <p:ext uri="{D42A27DB-BD31-4B8C-83A1-F6EECF244321}">
                <p14:modId xmlns:p14="http://schemas.microsoft.com/office/powerpoint/2010/main" val="2034888721"/>
              </p:ext>
            </p:extLst>
          </p:nvPr>
        </p:nvGraphicFramePr>
        <p:xfrm>
          <a:off x="6261521" y="902289"/>
          <a:ext cx="5387742" cy="4775284"/>
        </p:xfrm>
        <a:graphic>
          <a:graphicData uri="http://schemas.openxmlformats.org/drawingml/2006/table">
            <a:tbl>
              <a:tblPr firstRow="1" bandRow="1">
                <a:tableStyleId>{5C22544A-7EE6-4342-B048-85BDC9FD1C3A}</a:tableStyleId>
              </a:tblPr>
              <a:tblGrid>
                <a:gridCol w="2814677">
                  <a:extLst>
                    <a:ext uri="{9D8B030D-6E8A-4147-A177-3AD203B41FA5}">
                      <a16:colId xmlns:a16="http://schemas.microsoft.com/office/drawing/2014/main" val="2596463080"/>
                    </a:ext>
                  </a:extLst>
                </a:gridCol>
                <a:gridCol w="2573065">
                  <a:extLst>
                    <a:ext uri="{9D8B030D-6E8A-4147-A177-3AD203B41FA5}">
                      <a16:colId xmlns:a16="http://schemas.microsoft.com/office/drawing/2014/main" val="2717786206"/>
                    </a:ext>
                  </a:extLst>
                </a:gridCol>
              </a:tblGrid>
              <a:tr h="743749">
                <a:tc>
                  <a:txBody>
                    <a:bodyPr/>
                    <a:lstStyle/>
                    <a:p>
                      <a:pPr algn="ctr"/>
                      <a:r>
                        <a:rPr lang="en-US" sz="2000" dirty="0"/>
                        <a:t>SharePoint Designer</a:t>
                      </a:r>
                    </a:p>
                    <a:p>
                      <a:endParaRPr lang="en-US" sz="2000" dirty="0"/>
                    </a:p>
                  </a:txBody>
                  <a:tcPr marL="70819" marR="70819" marT="35409" marB="35409"/>
                </a:tc>
                <a:tc>
                  <a:txBody>
                    <a:bodyPr/>
                    <a:lstStyle/>
                    <a:p>
                      <a:pPr algn="ctr"/>
                      <a:r>
                        <a:rPr lang="en-US" sz="2000" dirty="0"/>
                        <a:t>Power Automate</a:t>
                      </a:r>
                    </a:p>
                    <a:p>
                      <a:endParaRPr lang="en-US" sz="2000" dirty="0"/>
                    </a:p>
                  </a:txBody>
                  <a:tcPr marL="70819" marR="70819" marT="35409" marB="35409"/>
                </a:tc>
                <a:extLst>
                  <a:ext uri="{0D108BD9-81ED-4DB2-BD59-A6C34878D82A}">
                    <a16:rowId xmlns:a16="http://schemas.microsoft.com/office/drawing/2014/main" val="4259342099"/>
                  </a:ext>
                </a:extLst>
              </a:tr>
              <a:tr h="811673">
                <a:tc>
                  <a:txBody>
                    <a:bodyPr/>
                    <a:lstStyle/>
                    <a:p>
                      <a:pPr algn="l" fontAlgn="ctr">
                        <a:spcBef>
                          <a:spcPts val="0"/>
                        </a:spcBef>
                        <a:spcAft>
                          <a:spcPts val="0"/>
                        </a:spcAft>
                      </a:pPr>
                      <a:r>
                        <a:rPr lang="en-US" sz="1600" u="none" strike="noStrike" dirty="0">
                          <a:effectLst/>
                        </a:rPr>
                        <a:t>Start a Task Process</a:t>
                      </a:r>
                      <a:endParaRPr lang="en-US" sz="1600" b="0" i="0" u="none" strike="noStrike" dirty="0">
                        <a:effectLst/>
                        <a:latin typeface="Arial" panose="020B0604020202020204" pitchFamily="34" charset="0"/>
                      </a:endParaRPr>
                    </a:p>
                  </a:txBody>
                  <a:tcPr marL="80086" marR="80086" marT="66738" marB="66738" anchor="ctr"/>
                </a:tc>
                <a:tc>
                  <a:txBody>
                    <a:bodyPr/>
                    <a:lstStyle/>
                    <a:p>
                      <a:pPr algn="l" fontAlgn="ctr">
                        <a:spcBef>
                          <a:spcPts val="0"/>
                        </a:spcBef>
                        <a:spcAft>
                          <a:spcPts val="0"/>
                        </a:spcAft>
                      </a:pPr>
                      <a:r>
                        <a:rPr lang="en-US" sz="1600" u="none" strike="noStrike" dirty="0">
                          <a:effectLst/>
                        </a:rPr>
                        <a:t>Power Automate leverages the more simplistic concepts of Create Item and Update Item actions to manage the creation and updating of SharePoint tasks</a:t>
                      </a:r>
                      <a:endParaRPr lang="en-US" sz="1600" b="0" i="0" u="none" strike="noStrike" dirty="0">
                        <a:effectLst/>
                        <a:latin typeface="Arial" panose="020B0604020202020204" pitchFamily="34" charset="0"/>
                      </a:endParaRPr>
                    </a:p>
                  </a:txBody>
                  <a:tcPr marL="80086" marR="80086" marT="66738" marB="66738" anchor="ctr"/>
                </a:tc>
                <a:extLst>
                  <a:ext uri="{0D108BD9-81ED-4DB2-BD59-A6C34878D82A}">
                    <a16:rowId xmlns:a16="http://schemas.microsoft.com/office/drawing/2014/main" val="1171666060"/>
                  </a:ext>
                </a:extLst>
              </a:tr>
              <a:tr h="811673">
                <a:tc>
                  <a:txBody>
                    <a:bodyPr/>
                    <a:lstStyle/>
                    <a:p>
                      <a:pPr algn="l" fontAlgn="ctr">
                        <a:spcBef>
                          <a:spcPts val="0"/>
                        </a:spcBef>
                        <a:spcAft>
                          <a:spcPts val="0"/>
                        </a:spcAft>
                      </a:pPr>
                      <a:r>
                        <a:rPr lang="en-US" sz="1600" u="none" strike="noStrike" dirty="0">
                          <a:effectLst/>
                        </a:rPr>
                        <a:t>Assign a Task</a:t>
                      </a:r>
                      <a:endParaRPr lang="en-US" sz="1600" b="0" i="0" u="none" strike="noStrike" dirty="0">
                        <a:effectLst/>
                        <a:latin typeface="Arial" panose="020B0604020202020204" pitchFamily="34" charset="0"/>
                      </a:endParaRPr>
                    </a:p>
                  </a:txBody>
                  <a:tcPr marL="80086" marR="80086" marT="66738" marB="66738" anchor="ctr"/>
                </a:tc>
                <a:tc rowSpan="3">
                  <a:txBody>
                    <a:bodyPr/>
                    <a:lstStyle/>
                    <a:p>
                      <a:pPr algn="l" fontAlgn="ctr">
                        <a:spcBef>
                          <a:spcPts val="0"/>
                        </a:spcBef>
                        <a:spcAft>
                          <a:spcPts val="0"/>
                        </a:spcAft>
                      </a:pPr>
                      <a:r>
                        <a:rPr lang="en-US" sz="1600" u="none" strike="noStrike" dirty="0">
                          <a:effectLst/>
                        </a:rPr>
                        <a:t>Implementing a task system can be done in multiple ways and there are too many option </a:t>
                      </a:r>
                      <a:endParaRPr lang="en-US" sz="1600" b="0" i="0" u="none" strike="noStrike" dirty="0">
                        <a:effectLst/>
                        <a:latin typeface="Arial" panose="020B0604020202020204" pitchFamily="34" charset="0"/>
                      </a:endParaRPr>
                    </a:p>
                  </a:txBody>
                  <a:tcPr marL="80086" marR="80086" marT="66738" marB="66738" anchor="ctr"/>
                </a:tc>
                <a:extLst>
                  <a:ext uri="{0D108BD9-81ED-4DB2-BD59-A6C34878D82A}">
                    <a16:rowId xmlns:a16="http://schemas.microsoft.com/office/drawing/2014/main" val="3201427707"/>
                  </a:ext>
                </a:extLst>
              </a:tr>
              <a:tr h="811673">
                <a:tc>
                  <a:txBody>
                    <a:bodyPr/>
                    <a:lstStyle/>
                    <a:p>
                      <a:pPr algn="l" fontAlgn="ctr">
                        <a:spcBef>
                          <a:spcPts val="0"/>
                        </a:spcBef>
                        <a:spcAft>
                          <a:spcPts val="0"/>
                        </a:spcAft>
                      </a:pPr>
                      <a:r>
                        <a:rPr lang="en-US" sz="1600" u="none" strike="noStrike" dirty="0">
                          <a:effectLst/>
                        </a:rPr>
                        <a:t>Assign a To-do Item</a:t>
                      </a:r>
                      <a:endParaRPr lang="en-US" sz="1600" b="0" i="0" u="none" strike="noStrike" dirty="0">
                        <a:effectLst/>
                        <a:latin typeface="Arial" panose="020B0604020202020204" pitchFamily="34" charset="0"/>
                      </a:endParaRPr>
                    </a:p>
                  </a:txBody>
                  <a:tcPr marL="80086" marR="80086" marT="66738" marB="66738" anchor="ctr"/>
                </a:tc>
                <a:tc vMerge="1">
                  <a:txBody>
                    <a:bodyPr/>
                    <a:lstStyle/>
                    <a:p>
                      <a:pPr algn="l" fontAlgn="ctr">
                        <a:spcBef>
                          <a:spcPts val="0"/>
                        </a:spcBef>
                        <a:spcAft>
                          <a:spcPts val="0"/>
                        </a:spcAft>
                      </a:pPr>
                      <a:endParaRPr lang="en-US" sz="1600" b="0" i="0" u="none" strike="noStrike" dirty="0">
                        <a:effectLst/>
                        <a:latin typeface="Arial" panose="020B0604020202020204" pitchFamily="34" charset="0"/>
                      </a:endParaRPr>
                    </a:p>
                  </a:txBody>
                  <a:tcPr marL="80086" marR="80086" marT="66738" marB="66738" anchor="ctr"/>
                </a:tc>
                <a:extLst>
                  <a:ext uri="{0D108BD9-81ED-4DB2-BD59-A6C34878D82A}">
                    <a16:rowId xmlns:a16="http://schemas.microsoft.com/office/drawing/2014/main" val="3602551983"/>
                  </a:ext>
                </a:extLst>
              </a:tr>
              <a:tr h="811673">
                <a:tc>
                  <a:txBody>
                    <a:bodyPr/>
                    <a:lstStyle/>
                    <a:p>
                      <a:pPr algn="l" fontAlgn="ctr">
                        <a:spcBef>
                          <a:spcPts val="0"/>
                        </a:spcBef>
                        <a:spcAft>
                          <a:spcPts val="0"/>
                        </a:spcAft>
                      </a:pPr>
                      <a:r>
                        <a:rPr lang="en-US" sz="1600" u="none" strike="noStrike" dirty="0">
                          <a:effectLst/>
                        </a:rPr>
                        <a:t>Start Custom Task Process</a:t>
                      </a:r>
                      <a:endParaRPr lang="en-US" sz="1600" b="0" i="0" u="none" strike="noStrike" dirty="0">
                        <a:effectLst/>
                        <a:latin typeface="Arial" panose="020B0604020202020204" pitchFamily="34" charset="0"/>
                      </a:endParaRPr>
                    </a:p>
                  </a:txBody>
                  <a:tcPr marL="80086" marR="80086" marT="66738" marB="66738" anchor="ctr"/>
                </a:tc>
                <a:tc vMerge="1">
                  <a:txBody>
                    <a:bodyPr/>
                    <a:lstStyle/>
                    <a:p>
                      <a:pPr algn="l" fontAlgn="ctr">
                        <a:spcBef>
                          <a:spcPts val="0"/>
                        </a:spcBef>
                        <a:spcAft>
                          <a:spcPts val="0"/>
                        </a:spcAft>
                      </a:pPr>
                      <a:endParaRPr lang="en-US" sz="1600" b="0" i="0" u="none" strike="noStrike" dirty="0">
                        <a:effectLst/>
                        <a:latin typeface="Arial" panose="020B0604020202020204" pitchFamily="34" charset="0"/>
                      </a:endParaRPr>
                    </a:p>
                  </a:txBody>
                  <a:tcPr marL="80086" marR="80086" marT="66738" marB="66738" anchor="ctr"/>
                </a:tc>
                <a:extLst>
                  <a:ext uri="{0D108BD9-81ED-4DB2-BD59-A6C34878D82A}">
                    <a16:rowId xmlns:a16="http://schemas.microsoft.com/office/drawing/2014/main" val="2008336626"/>
                  </a:ext>
                </a:extLst>
              </a:tr>
            </a:tbl>
          </a:graphicData>
        </a:graphic>
      </p:graphicFrame>
    </p:spTree>
    <p:extLst>
      <p:ext uri="{BB962C8B-B14F-4D97-AF65-F5344CB8AC3E}">
        <p14:creationId xmlns:p14="http://schemas.microsoft.com/office/powerpoint/2010/main" val="42532942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47C82-7B3D-4C20-9A87-FD69531E87BE}"/>
              </a:ext>
            </a:extLst>
          </p:cNvPr>
          <p:cNvSpPr>
            <a:spLocks noGrp="1"/>
          </p:cNvSpPr>
          <p:nvPr>
            <p:ph type="title"/>
          </p:nvPr>
        </p:nvSpPr>
        <p:spPr>
          <a:xfrm>
            <a:off x="839788" y="365126"/>
            <a:ext cx="10515600" cy="966370"/>
          </a:xfrm>
        </p:spPr>
        <p:txBody>
          <a:bodyPr>
            <a:normAutofit fontScale="90000"/>
          </a:bodyPr>
          <a:lstStyle/>
          <a:p>
            <a:r>
              <a:rPr lang="en-US" sz="4900" dirty="0"/>
              <a:t>Variables Comparison </a:t>
            </a:r>
            <a:br>
              <a:rPr lang="en-US" dirty="0">
                <a:solidFill>
                  <a:srgbClr val="767676"/>
                </a:solidFill>
                <a:latin typeface="SegoeUI"/>
              </a:rPr>
            </a:br>
            <a:endParaRPr lang="en-US" dirty="0"/>
          </a:p>
        </p:txBody>
      </p:sp>
      <p:sp>
        <p:nvSpPr>
          <p:cNvPr id="3" name="Rectangle: Rounded Corners 2">
            <a:extLst>
              <a:ext uri="{FF2B5EF4-FFF2-40B4-BE49-F238E27FC236}">
                <a16:creationId xmlns:a16="http://schemas.microsoft.com/office/drawing/2014/main" id="{A3B411ED-F2BA-43B8-87F0-34D285E29504}"/>
              </a:ext>
            </a:extLst>
          </p:cNvPr>
          <p:cNvSpPr/>
          <p:nvPr/>
        </p:nvSpPr>
        <p:spPr>
          <a:xfrm>
            <a:off x="381919"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Point Designer</a:t>
            </a:r>
          </a:p>
        </p:txBody>
      </p:sp>
      <p:sp>
        <p:nvSpPr>
          <p:cNvPr id="8" name="Rectangle: Rounded Corners 7">
            <a:extLst>
              <a:ext uri="{FF2B5EF4-FFF2-40B4-BE49-F238E27FC236}">
                <a16:creationId xmlns:a16="http://schemas.microsoft.com/office/drawing/2014/main" id="{CF888F36-9815-4F73-B555-0731C98D728D}"/>
              </a:ext>
            </a:extLst>
          </p:cNvPr>
          <p:cNvSpPr/>
          <p:nvPr/>
        </p:nvSpPr>
        <p:spPr>
          <a:xfrm>
            <a:off x="6026775"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 Automate</a:t>
            </a:r>
          </a:p>
        </p:txBody>
      </p:sp>
      <p:pic>
        <p:nvPicPr>
          <p:cNvPr id="6" name="Picture 5">
            <a:extLst>
              <a:ext uri="{FF2B5EF4-FFF2-40B4-BE49-F238E27FC236}">
                <a16:creationId xmlns:a16="http://schemas.microsoft.com/office/drawing/2014/main" id="{CBA9E0A0-A7D6-4AE5-8FF1-C2E61CB21B12}"/>
              </a:ext>
            </a:extLst>
          </p:cNvPr>
          <p:cNvPicPr>
            <a:picLocks noChangeAspect="1"/>
          </p:cNvPicPr>
          <p:nvPr/>
        </p:nvPicPr>
        <p:blipFill>
          <a:blip r:embed="rId3"/>
          <a:stretch>
            <a:fillRect/>
          </a:stretch>
        </p:blipFill>
        <p:spPr>
          <a:xfrm>
            <a:off x="483211" y="2254068"/>
            <a:ext cx="3827844" cy="3507937"/>
          </a:xfrm>
          <a:prstGeom prst="rect">
            <a:avLst/>
          </a:prstGeom>
        </p:spPr>
      </p:pic>
      <p:pic>
        <p:nvPicPr>
          <p:cNvPr id="9" name="Picture 8">
            <a:extLst>
              <a:ext uri="{FF2B5EF4-FFF2-40B4-BE49-F238E27FC236}">
                <a16:creationId xmlns:a16="http://schemas.microsoft.com/office/drawing/2014/main" id="{FFFF1709-0D7A-4932-A1C5-E1870DBC3D48}"/>
              </a:ext>
            </a:extLst>
          </p:cNvPr>
          <p:cNvPicPr>
            <a:picLocks noChangeAspect="1"/>
          </p:cNvPicPr>
          <p:nvPr/>
        </p:nvPicPr>
        <p:blipFill>
          <a:blip r:embed="rId4"/>
          <a:stretch>
            <a:fillRect/>
          </a:stretch>
        </p:blipFill>
        <p:spPr>
          <a:xfrm>
            <a:off x="6096000" y="1972053"/>
            <a:ext cx="2336800" cy="4158131"/>
          </a:xfrm>
          <a:prstGeom prst="rect">
            <a:avLst/>
          </a:prstGeom>
        </p:spPr>
      </p:pic>
      <p:sp>
        <p:nvSpPr>
          <p:cNvPr id="14" name="TextBox 13">
            <a:extLst>
              <a:ext uri="{FF2B5EF4-FFF2-40B4-BE49-F238E27FC236}">
                <a16:creationId xmlns:a16="http://schemas.microsoft.com/office/drawing/2014/main" id="{CA4B1D11-C740-4A1A-B1F1-157FBDB026BC}"/>
              </a:ext>
            </a:extLst>
          </p:cNvPr>
          <p:cNvSpPr txBox="1"/>
          <p:nvPr/>
        </p:nvSpPr>
        <p:spPr>
          <a:xfrm>
            <a:off x="9031111" y="1803909"/>
            <a:ext cx="2020711" cy="1815882"/>
          </a:xfrm>
          <a:prstGeom prst="rect">
            <a:avLst/>
          </a:prstGeom>
          <a:noFill/>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dirty="0">
                <a:effectLst/>
              </a:rPr>
              <a:t>Variables are a bit different in Flow. Dynamic content will take away the need of creating many variables. As an alternative you can set properties with expressions:</a:t>
            </a:r>
            <a:endParaRPr lang="en-US" sz="1400" b="0" i="0" u="none" strike="noStrike" dirty="0">
              <a:effectLst/>
              <a:latin typeface="Arial" panose="020B0604020202020204" pitchFamily="34" charset="0"/>
            </a:endParaRPr>
          </a:p>
        </p:txBody>
      </p:sp>
      <p:pic>
        <p:nvPicPr>
          <p:cNvPr id="11" name="Picture 10" descr="A screenshot of a cell phone&#10;&#10;Description automatically generated">
            <a:extLst>
              <a:ext uri="{FF2B5EF4-FFF2-40B4-BE49-F238E27FC236}">
                <a16:creationId xmlns:a16="http://schemas.microsoft.com/office/drawing/2014/main" id="{A6C84C1B-E1AB-47AB-99E3-FA92AD883F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55455" y="4547214"/>
            <a:ext cx="3636545" cy="2181225"/>
          </a:xfrm>
          <a:prstGeom prst="rect">
            <a:avLst/>
          </a:prstGeom>
        </p:spPr>
      </p:pic>
      <p:cxnSp>
        <p:nvCxnSpPr>
          <p:cNvPr id="17" name="Straight Arrow Connector 16">
            <a:extLst>
              <a:ext uri="{FF2B5EF4-FFF2-40B4-BE49-F238E27FC236}">
                <a16:creationId xmlns:a16="http://schemas.microsoft.com/office/drawing/2014/main" id="{18722C34-BA30-423D-8507-B7B09AAF417A}"/>
              </a:ext>
            </a:extLst>
          </p:cNvPr>
          <p:cNvCxnSpPr/>
          <p:nvPr/>
        </p:nvCxnSpPr>
        <p:spPr>
          <a:xfrm>
            <a:off x="9744931" y="3695311"/>
            <a:ext cx="0" cy="7863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94372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47C82-7B3D-4C20-9A87-FD69531E87BE}"/>
              </a:ext>
            </a:extLst>
          </p:cNvPr>
          <p:cNvSpPr>
            <a:spLocks noGrp="1"/>
          </p:cNvSpPr>
          <p:nvPr>
            <p:ph type="title"/>
          </p:nvPr>
        </p:nvSpPr>
        <p:spPr>
          <a:xfrm>
            <a:off x="839788" y="365126"/>
            <a:ext cx="10515600" cy="966370"/>
          </a:xfrm>
        </p:spPr>
        <p:txBody>
          <a:bodyPr>
            <a:normAutofit fontScale="90000"/>
          </a:bodyPr>
          <a:lstStyle/>
          <a:p>
            <a:r>
              <a:rPr lang="en-US" sz="4900" dirty="0"/>
              <a:t>Conditions Comparison </a:t>
            </a:r>
            <a:br>
              <a:rPr lang="en-US" dirty="0">
                <a:solidFill>
                  <a:srgbClr val="767676"/>
                </a:solidFill>
                <a:latin typeface="SegoeUI"/>
              </a:rPr>
            </a:br>
            <a:endParaRPr lang="en-US" dirty="0"/>
          </a:p>
        </p:txBody>
      </p:sp>
      <p:sp>
        <p:nvSpPr>
          <p:cNvPr id="3" name="Rectangle: Rounded Corners 2">
            <a:extLst>
              <a:ext uri="{FF2B5EF4-FFF2-40B4-BE49-F238E27FC236}">
                <a16:creationId xmlns:a16="http://schemas.microsoft.com/office/drawing/2014/main" id="{A3B411ED-F2BA-43B8-87F0-34D285E29504}"/>
              </a:ext>
            </a:extLst>
          </p:cNvPr>
          <p:cNvSpPr/>
          <p:nvPr/>
        </p:nvSpPr>
        <p:spPr>
          <a:xfrm>
            <a:off x="381919"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Point Designer</a:t>
            </a:r>
          </a:p>
        </p:txBody>
      </p:sp>
      <p:sp>
        <p:nvSpPr>
          <p:cNvPr id="8" name="Rectangle: Rounded Corners 7">
            <a:extLst>
              <a:ext uri="{FF2B5EF4-FFF2-40B4-BE49-F238E27FC236}">
                <a16:creationId xmlns:a16="http://schemas.microsoft.com/office/drawing/2014/main" id="{CF888F36-9815-4F73-B555-0731C98D728D}"/>
              </a:ext>
            </a:extLst>
          </p:cNvPr>
          <p:cNvSpPr/>
          <p:nvPr/>
        </p:nvSpPr>
        <p:spPr>
          <a:xfrm>
            <a:off x="6026775"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 Automate</a:t>
            </a:r>
          </a:p>
        </p:txBody>
      </p:sp>
      <p:pic>
        <p:nvPicPr>
          <p:cNvPr id="5" name="Picture 4">
            <a:extLst>
              <a:ext uri="{FF2B5EF4-FFF2-40B4-BE49-F238E27FC236}">
                <a16:creationId xmlns:a16="http://schemas.microsoft.com/office/drawing/2014/main" id="{FDBB218B-D216-40B7-8F2C-A3E7183360A3}"/>
              </a:ext>
            </a:extLst>
          </p:cNvPr>
          <p:cNvPicPr>
            <a:picLocks noChangeAspect="1"/>
          </p:cNvPicPr>
          <p:nvPr/>
        </p:nvPicPr>
        <p:blipFill>
          <a:blip r:embed="rId3"/>
          <a:stretch>
            <a:fillRect/>
          </a:stretch>
        </p:blipFill>
        <p:spPr>
          <a:xfrm>
            <a:off x="937061" y="2174427"/>
            <a:ext cx="2438430" cy="3323261"/>
          </a:xfrm>
          <a:prstGeom prst="rect">
            <a:avLst/>
          </a:prstGeom>
        </p:spPr>
      </p:pic>
      <p:pic>
        <p:nvPicPr>
          <p:cNvPr id="12" name="Picture 11">
            <a:extLst>
              <a:ext uri="{FF2B5EF4-FFF2-40B4-BE49-F238E27FC236}">
                <a16:creationId xmlns:a16="http://schemas.microsoft.com/office/drawing/2014/main" id="{E1B5488C-5464-462E-8574-94B1738B945D}"/>
              </a:ext>
            </a:extLst>
          </p:cNvPr>
          <p:cNvPicPr>
            <a:picLocks noChangeAspect="1"/>
          </p:cNvPicPr>
          <p:nvPr/>
        </p:nvPicPr>
        <p:blipFill>
          <a:blip r:embed="rId4"/>
          <a:stretch>
            <a:fillRect/>
          </a:stretch>
        </p:blipFill>
        <p:spPr>
          <a:xfrm>
            <a:off x="5030022" y="2128766"/>
            <a:ext cx="7042210" cy="2461217"/>
          </a:xfrm>
          <a:prstGeom prst="rect">
            <a:avLst/>
          </a:prstGeom>
        </p:spPr>
      </p:pic>
      <p:sp>
        <p:nvSpPr>
          <p:cNvPr id="13" name="TextBox 12">
            <a:extLst>
              <a:ext uri="{FF2B5EF4-FFF2-40B4-BE49-F238E27FC236}">
                <a16:creationId xmlns:a16="http://schemas.microsoft.com/office/drawing/2014/main" id="{4070F73E-383A-468A-A967-AB7CA4D5FFD2}"/>
              </a:ext>
            </a:extLst>
          </p:cNvPr>
          <p:cNvSpPr txBox="1"/>
          <p:nvPr/>
        </p:nvSpPr>
        <p:spPr>
          <a:xfrm>
            <a:off x="5030023" y="5128355"/>
            <a:ext cx="7042210" cy="923330"/>
          </a:xfrm>
          <a:prstGeom prst="rect">
            <a:avLst/>
          </a:prstGeom>
          <a:noFill/>
        </p:spPr>
        <p:txBody>
          <a:bodyPr wrap="square" rtlCol="0">
            <a:spAutoFit/>
          </a:bodyPr>
          <a:lstStyle/>
          <a:p>
            <a:r>
              <a:rPr lang="en-US" dirty="0"/>
              <a:t>By leveraging variables and dynamic expressions in a Condition step, the functionalities that are available in SPD workflows can be achieved in Power Automate flow</a:t>
            </a:r>
          </a:p>
        </p:txBody>
      </p:sp>
    </p:spTree>
    <p:extLst>
      <p:ext uri="{BB962C8B-B14F-4D97-AF65-F5344CB8AC3E}">
        <p14:creationId xmlns:p14="http://schemas.microsoft.com/office/powerpoint/2010/main" val="16482875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47C82-7B3D-4C20-9A87-FD69531E87BE}"/>
              </a:ext>
            </a:extLst>
          </p:cNvPr>
          <p:cNvSpPr>
            <a:spLocks noGrp="1"/>
          </p:cNvSpPr>
          <p:nvPr>
            <p:ph type="title"/>
          </p:nvPr>
        </p:nvSpPr>
        <p:spPr>
          <a:xfrm>
            <a:off x="839788" y="365126"/>
            <a:ext cx="10515600" cy="966370"/>
          </a:xfrm>
        </p:spPr>
        <p:txBody>
          <a:bodyPr>
            <a:normAutofit fontScale="90000"/>
          </a:bodyPr>
          <a:lstStyle/>
          <a:p>
            <a:r>
              <a:rPr lang="en-US" sz="4900" dirty="0"/>
              <a:t>Stages/Steps Comparison </a:t>
            </a:r>
            <a:br>
              <a:rPr lang="en-US" dirty="0">
                <a:solidFill>
                  <a:srgbClr val="767676"/>
                </a:solidFill>
                <a:latin typeface="SegoeUI"/>
              </a:rPr>
            </a:br>
            <a:endParaRPr lang="en-US" dirty="0"/>
          </a:p>
        </p:txBody>
      </p:sp>
      <p:sp>
        <p:nvSpPr>
          <p:cNvPr id="3" name="Rectangle: Rounded Corners 2">
            <a:extLst>
              <a:ext uri="{FF2B5EF4-FFF2-40B4-BE49-F238E27FC236}">
                <a16:creationId xmlns:a16="http://schemas.microsoft.com/office/drawing/2014/main" id="{A3B411ED-F2BA-43B8-87F0-34D285E29504}"/>
              </a:ext>
            </a:extLst>
          </p:cNvPr>
          <p:cNvSpPr/>
          <p:nvPr/>
        </p:nvSpPr>
        <p:spPr>
          <a:xfrm>
            <a:off x="381919"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Point Designer</a:t>
            </a:r>
          </a:p>
        </p:txBody>
      </p:sp>
      <p:sp>
        <p:nvSpPr>
          <p:cNvPr id="8" name="Rectangle: Rounded Corners 7">
            <a:extLst>
              <a:ext uri="{FF2B5EF4-FFF2-40B4-BE49-F238E27FC236}">
                <a16:creationId xmlns:a16="http://schemas.microsoft.com/office/drawing/2014/main" id="{CF888F36-9815-4F73-B555-0731C98D728D}"/>
              </a:ext>
            </a:extLst>
          </p:cNvPr>
          <p:cNvSpPr/>
          <p:nvPr/>
        </p:nvSpPr>
        <p:spPr>
          <a:xfrm>
            <a:off x="6711935" y="1024456"/>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 Automate</a:t>
            </a:r>
          </a:p>
        </p:txBody>
      </p:sp>
      <p:pic>
        <p:nvPicPr>
          <p:cNvPr id="6" name="Picture 5">
            <a:extLst>
              <a:ext uri="{FF2B5EF4-FFF2-40B4-BE49-F238E27FC236}">
                <a16:creationId xmlns:a16="http://schemas.microsoft.com/office/drawing/2014/main" id="{A8B48CBA-6B4F-4ABC-B2E2-E8DF6330A7A5}"/>
              </a:ext>
            </a:extLst>
          </p:cNvPr>
          <p:cNvPicPr>
            <a:picLocks noChangeAspect="1"/>
          </p:cNvPicPr>
          <p:nvPr/>
        </p:nvPicPr>
        <p:blipFill>
          <a:blip r:embed="rId3"/>
          <a:stretch>
            <a:fillRect/>
          </a:stretch>
        </p:blipFill>
        <p:spPr>
          <a:xfrm>
            <a:off x="6797293" y="2106448"/>
            <a:ext cx="5128425" cy="2645103"/>
          </a:xfrm>
          <a:prstGeom prst="rect">
            <a:avLst/>
          </a:prstGeom>
        </p:spPr>
      </p:pic>
      <p:pic>
        <p:nvPicPr>
          <p:cNvPr id="11" name="Picture 10">
            <a:extLst>
              <a:ext uri="{FF2B5EF4-FFF2-40B4-BE49-F238E27FC236}">
                <a16:creationId xmlns:a16="http://schemas.microsoft.com/office/drawing/2014/main" id="{0C7CF3E6-B184-4FA1-9FAE-AE9A2AB39DC5}"/>
              </a:ext>
            </a:extLst>
          </p:cNvPr>
          <p:cNvPicPr>
            <a:picLocks noChangeAspect="1"/>
          </p:cNvPicPr>
          <p:nvPr/>
        </p:nvPicPr>
        <p:blipFill>
          <a:blip r:embed="rId4"/>
          <a:stretch>
            <a:fillRect/>
          </a:stretch>
        </p:blipFill>
        <p:spPr>
          <a:xfrm>
            <a:off x="381919" y="2193213"/>
            <a:ext cx="4614487" cy="3568793"/>
          </a:xfrm>
          <a:prstGeom prst="rect">
            <a:avLst/>
          </a:prstGeom>
        </p:spPr>
      </p:pic>
      <p:sp>
        <p:nvSpPr>
          <p:cNvPr id="15" name="Left Brace 14">
            <a:extLst>
              <a:ext uri="{FF2B5EF4-FFF2-40B4-BE49-F238E27FC236}">
                <a16:creationId xmlns:a16="http://schemas.microsoft.com/office/drawing/2014/main" id="{D66010AE-94BF-46CD-BF13-43EC25C127F0}"/>
              </a:ext>
            </a:extLst>
          </p:cNvPr>
          <p:cNvSpPr/>
          <p:nvPr/>
        </p:nvSpPr>
        <p:spPr>
          <a:xfrm>
            <a:off x="6626578" y="2280356"/>
            <a:ext cx="170715" cy="167075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Box 15">
            <a:extLst>
              <a:ext uri="{FF2B5EF4-FFF2-40B4-BE49-F238E27FC236}">
                <a16:creationId xmlns:a16="http://schemas.microsoft.com/office/drawing/2014/main" id="{EDC5EE75-A089-437B-A3A2-33AEE86B33F7}"/>
              </a:ext>
            </a:extLst>
          </p:cNvPr>
          <p:cNvSpPr txBox="1"/>
          <p:nvPr/>
        </p:nvSpPr>
        <p:spPr>
          <a:xfrm>
            <a:off x="5937956" y="2931067"/>
            <a:ext cx="688622" cy="369332"/>
          </a:xfrm>
          <a:prstGeom prst="rect">
            <a:avLst/>
          </a:prstGeom>
          <a:noFill/>
        </p:spPr>
        <p:txBody>
          <a:bodyPr wrap="square" rtlCol="0">
            <a:spAutoFit/>
          </a:bodyPr>
          <a:lstStyle/>
          <a:p>
            <a:r>
              <a:rPr lang="en-US" dirty="0"/>
              <a:t>Steps</a:t>
            </a:r>
          </a:p>
        </p:txBody>
      </p:sp>
    </p:spTree>
    <p:extLst>
      <p:ext uri="{BB962C8B-B14F-4D97-AF65-F5344CB8AC3E}">
        <p14:creationId xmlns:p14="http://schemas.microsoft.com/office/powerpoint/2010/main" val="22441143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6F968-9A13-4BD0-9EDE-62FBDA88C532}"/>
              </a:ext>
            </a:extLst>
          </p:cNvPr>
          <p:cNvSpPr>
            <a:spLocks noGrp="1"/>
          </p:cNvSpPr>
          <p:nvPr>
            <p:ph type="title"/>
          </p:nvPr>
        </p:nvSpPr>
        <p:spPr/>
        <p:txBody>
          <a:bodyPr>
            <a:normAutofit fontScale="90000"/>
          </a:bodyPr>
          <a:lstStyle/>
          <a:p>
            <a:r>
              <a:rPr lang="en-US" b="1" i="0" dirty="0">
                <a:solidFill>
                  <a:srgbClr val="171717"/>
                </a:solidFill>
                <a:effectLst/>
                <a:latin typeface="Segoe UI" panose="020B0502040204020203" pitchFamily="34" charset="0"/>
              </a:rPr>
              <a:t>Differences between a business process flow and a regular flow in Power Automate</a:t>
            </a:r>
            <a:br>
              <a:rPr lang="en-US" b="0" i="0" dirty="0">
                <a:effectLst/>
                <a:latin typeface="Segoe UI" panose="020B0502040204020203" pitchFamily="34" charset="0"/>
              </a:rPr>
            </a:br>
            <a:endParaRPr lang="en-US" dirty="0"/>
          </a:p>
        </p:txBody>
      </p:sp>
      <p:sp>
        <p:nvSpPr>
          <p:cNvPr id="3" name="Content Placeholder 2">
            <a:extLst>
              <a:ext uri="{FF2B5EF4-FFF2-40B4-BE49-F238E27FC236}">
                <a16:creationId xmlns:a16="http://schemas.microsoft.com/office/drawing/2014/main" id="{E7941DFE-97E5-4A7E-8716-02476C1D8876}"/>
              </a:ext>
            </a:extLst>
          </p:cNvPr>
          <p:cNvSpPr>
            <a:spLocks noGrp="1"/>
          </p:cNvSpPr>
          <p:nvPr>
            <p:ph idx="1"/>
          </p:nvPr>
        </p:nvSpPr>
        <p:spPr>
          <a:xfrm>
            <a:off x="838200" y="1825625"/>
            <a:ext cx="5402179" cy="4667250"/>
          </a:xfrm>
        </p:spPr>
        <p:txBody>
          <a:bodyPr>
            <a:normAutofit fontScale="55000" lnSpcReduction="20000"/>
          </a:bodyPr>
          <a:lstStyle/>
          <a:p>
            <a:pPr algn="l"/>
            <a:r>
              <a:rPr lang="en-US" sz="3300" b="0" i="0" dirty="0">
                <a:solidFill>
                  <a:srgbClr val="171717"/>
                </a:solidFill>
                <a:effectLst/>
                <a:latin typeface="Segoe UI" panose="020B0502040204020203" pitchFamily="34" charset="0"/>
              </a:rPr>
              <a:t>Business Process flow</a:t>
            </a:r>
          </a:p>
          <a:p>
            <a:pPr lvl="1"/>
            <a:r>
              <a:rPr lang="en-US" sz="2500" b="0" i="0" dirty="0">
                <a:solidFill>
                  <a:srgbClr val="171717"/>
                </a:solidFill>
                <a:effectLst/>
                <a:latin typeface="Segoe UI" panose="020B0502040204020203" pitchFamily="34" charset="0"/>
              </a:rPr>
              <a:t>is a visual guide</a:t>
            </a:r>
          </a:p>
          <a:p>
            <a:pPr lvl="1"/>
            <a:r>
              <a:rPr lang="en-US" sz="2500" b="0" i="0" dirty="0">
                <a:solidFill>
                  <a:srgbClr val="171717"/>
                </a:solidFill>
                <a:effectLst/>
                <a:latin typeface="Segoe UI" panose="020B0502040204020203" pitchFamily="34" charset="0"/>
              </a:rPr>
              <a:t>Users are not limited on how long they run a business process</a:t>
            </a:r>
          </a:p>
          <a:p>
            <a:pPr lvl="1"/>
            <a:r>
              <a:rPr lang="en-US" sz="2500" b="0" i="0" dirty="0">
                <a:solidFill>
                  <a:srgbClr val="171717"/>
                </a:solidFill>
                <a:effectLst/>
                <a:latin typeface="Segoe UI" panose="020B0502040204020203" pitchFamily="34" charset="0"/>
              </a:rPr>
              <a:t>All data can only be stored in one or more entities in Common Data Service</a:t>
            </a:r>
            <a:endParaRPr lang="en-US" sz="2500" dirty="0">
              <a:solidFill>
                <a:srgbClr val="171717"/>
              </a:solidFill>
              <a:latin typeface="Segoe UI" panose="020B0502040204020203" pitchFamily="34" charset="0"/>
            </a:endParaRPr>
          </a:p>
          <a:p>
            <a:pPr lvl="1"/>
            <a:r>
              <a:rPr lang="en-US" sz="2500" b="0" i="0" dirty="0">
                <a:solidFill>
                  <a:srgbClr val="171717"/>
                </a:solidFill>
                <a:effectLst/>
                <a:latin typeface="Segoe UI" panose="020B0502040204020203" pitchFamily="34" charset="0"/>
              </a:rPr>
              <a:t>cannot be associated with another data source behind it.</a:t>
            </a:r>
          </a:p>
          <a:p>
            <a:pPr lvl="1"/>
            <a:endParaRPr lang="en-US" sz="2500" b="0" i="0" dirty="0">
              <a:solidFill>
                <a:srgbClr val="171717"/>
              </a:solidFill>
              <a:effectLst/>
              <a:latin typeface="Segoe UI" panose="020B0502040204020203" pitchFamily="34" charset="0"/>
            </a:endParaRPr>
          </a:p>
          <a:p>
            <a:pPr lvl="1"/>
            <a:endParaRPr lang="en-US" dirty="0">
              <a:solidFill>
                <a:srgbClr val="171717"/>
              </a:solidFill>
              <a:latin typeface="Segoe UI" panose="020B0502040204020203" pitchFamily="34" charset="0"/>
            </a:endParaRPr>
          </a:p>
          <a:p>
            <a:r>
              <a:rPr lang="en-US" sz="2900" b="0" i="0" dirty="0">
                <a:solidFill>
                  <a:srgbClr val="171717"/>
                </a:solidFill>
                <a:effectLst/>
                <a:latin typeface="Segoe UI" panose="020B0502040204020203" pitchFamily="34" charset="0"/>
              </a:rPr>
              <a:t>Regular flow</a:t>
            </a:r>
          </a:p>
          <a:p>
            <a:pPr lvl="1"/>
            <a:r>
              <a:rPr lang="en-US" sz="2500" b="0" i="0" dirty="0">
                <a:solidFill>
                  <a:srgbClr val="171717"/>
                </a:solidFill>
                <a:effectLst/>
                <a:latin typeface="Segoe UI" panose="020B0502040204020203" pitchFamily="34" charset="0"/>
              </a:rPr>
              <a:t>does not have any visual components</a:t>
            </a:r>
          </a:p>
          <a:p>
            <a:pPr lvl="1"/>
            <a:r>
              <a:rPr lang="en-US" sz="2500" b="0" i="0" dirty="0">
                <a:solidFill>
                  <a:srgbClr val="171717"/>
                </a:solidFill>
                <a:effectLst/>
                <a:latin typeface="Segoe UI" panose="020B0502040204020203" pitchFamily="34" charset="0"/>
              </a:rPr>
              <a:t>can be configured to work with many different data sources </a:t>
            </a:r>
          </a:p>
          <a:p>
            <a:pPr lvl="1"/>
            <a:r>
              <a:rPr lang="en-US" sz="2500" b="0" i="0" dirty="0">
                <a:solidFill>
                  <a:srgbClr val="171717"/>
                </a:solidFill>
                <a:effectLst/>
                <a:latin typeface="Segoe UI" panose="020B0502040204020203" pitchFamily="34" charset="0"/>
              </a:rPr>
              <a:t>can connect to many different data sources within the same flow. </a:t>
            </a:r>
          </a:p>
          <a:p>
            <a:pPr lvl="1"/>
            <a:r>
              <a:rPr lang="en-US" sz="2500" b="0" i="0" dirty="0">
                <a:solidFill>
                  <a:srgbClr val="171717"/>
                </a:solidFill>
                <a:effectLst/>
                <a:latin typeface="Segoe UI" panose="020B0502040204020203" pitchFamily="34" charset="0"/>
              </a:rPr>
              <a:t>A flow can be configured to time out if it is not completed in a certain time </a:t>
            </a:r>
          </a:p>
          <a:p>
            <a:pPr lvl="1"/>
            <a:r>
              <a:rPr lang="en-US" sz="2500" b="0" i="0" dirty="0">
                <a:solidFill>
                  <a:srgbClr val="171717"/>
                </a:solidFill>
                <a:effectLst/>
                <a:latin typeface="Segoe UI" panose="020B0502040204020203" pitchFamily="34" charset="0"/>
              </a:rPr>
              <a:t>can be triggered to move between steps based on data or user interaction. </a:t>
            </a:r>
          </a:p>
          <a:p>
            <a:pPr lvl="1"/>
            <a:r>
              <a:rPr lang="en-US" sz="2500" b="0" i="0" dirty="0">
                <a:solidFill>
                  <a:srgbClr val="171717"/>
                </a:solidFill>
                <a:effectLst/>
                <a:latin typeface="Segoe UI" panose="020B0502040204020203" pitchFamily="34" charset="0"/>
              </a:rPr>
              <a:t>supports complex logic and looping </a:t>
            </a:r>
          </a:p>
          <a:p>
            <a:pPr lvl="1"/>
            <a:r>
              <a:rPr lang="en-US" sz="2500" b="0" i="0" dirty="0">
                <a:solidFill>
                  <a:srgbClr val="171717"/>
                </a:solidFill>
                <a:effectLst/>
                <a:latin typeface="Segoe UI" panose="020B0502040204020203" pitchFamily="34" charset="0"/>
              </a:rPr>
              <a:t>can call another Power Automate flow as needed.</a:t>
            </a:r>
          </a:p>
          <a:p>
            <a:endParaRPr lang="en-US" dirty="0"/>
          </a:p>
        </p:txBody>
      </p:sp>
      <p:pic>
        <p:nvPicPr>
          <p:cNvPr id="5" name="Picture 4">
            <a:extLst>
              <a:ext uri="{FF2B5EF4-FFF2-40B4-BE49-F238E27FC236}">
                <a16:creationId xmlns:a16="http://schemas.microsoft.com/office/drawing/2014/main" id="{5CBC1004-310E-408F-AA08-C138A28763AF}"/>
              </a:ext>
            </a:extLst>
          </p:cNvPr>
          <p:cNvPicPr>
            <a:picLocks noChangeAspect="1"/>
          </p:cNvPicPr>
          <p:nvPr/>
        </p:nvPicPr>
        <p:blipFill rotWithShape="1">
          <a:blip r:embed="rId3">
            <a:extLst>
              <a:ext uri="{28A0092B-C50C-407E-A947-70E740481C1C}">
                <a14:useLocalDpi xmlns:a14="http://schemas.microsoft.com/office/drawing/2010/main" val="0"/>
              </a:ext>
            </a:extLst>
          </a:blip>
          <a:srcRect l="19914" r="35387"/>
          <a:stretch/>
        </p:blipFill>
        <p:spPr>
          <a:xfrm>
            <a:off x="6653463" y="1532199"/>
            <a:ext cx="4700337" cy="4960676"/>
          </a:xfrm>
          <a:prstGeom prst="rect">
            <a:avLst/>
          </a:prstGeom>
        </p:spPr>
      </p:pic>
    </p:spTree>
    <p:extLst>
      <p:ext uri="{BB962C8B-B14F-4D97-AF65-F5344CB8AC3E}">
        <p14:creationId xmlns:p14="http://schemas.microsoft.com/office/powerpoint/2010/main" val="23476153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47C82-7B3D-4C20-9A87-FD69531E87BE}"/>
              </a:ext>
            </a:extLst>
          </p:cNvPr>
          <p:cNvSpPr>
            <a:spLocks noGrp="1"/>
          </p:cNvSpPr>
          <p:nvPr>
            <p:ph type="title"/>
          </p:nvPr>
        </p:nvSpPr>
        <p:spPr>
          <a:xfrm>
            <a:off x="839788" y="365126"/>
            <a:ext cx="10515600" cy="966370"/>
          </a:xfrm>
        </p:spPr>
        <p:txBody>
          <a:bodyPr>
            <a:normAutofit fontScale="90000"/>
          </a:bodyPr>
          <a:lstStyle/>
          <a:p>
            <a:r>
              <a:rPr lang="en-US" sz="4900" dirty="0"/>
              <a:t>Looping Comparison </a:t>
            </a:r>
            <a:br>
              <a:rPr lang="en-US" dirty="0">
                <a:solidFill>
                  <a:srgbClr val="767676"/>
                </a:solidFill>
                <a:latin typeface="SegoeUI"/>
              </a:rPr>
            </a:br>
            <a:endParaRPr lang="en-US" dirty="0"/>
          </a:p>
        </p:txBody>
      </p:sp>
      <p:sp>
        <p:nvSpPr>
          <p:cNvPr id="3" name="Rectangle: Rounded Corners 2">
            <a:extLst>
              <a:ext uri="{FF2B5EF4-FFF2-40B4-BE49-F238E27FC236}">
                <a16:creationId xmlns:a16="http://schemas.microsoft.com/office/drawing/2014/main" id="{A3B411ED-F2BA-43B8-87F0-34D285E29504}"/>
              </a:ext>
            </a:extLst>
          </p:cNvPr>
          <p:cNvSpPr/>
          <p:nvPr/>
        </p:nvSpPr>
        <p:spPr>
          <a:xfrm>
            <a:off x="381919"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Point Designer</a:t>
            </a:r>
          </a:p>
        </p:txBody>
      </p:sp>
      <p:sp>
        <p:nvSpPr>
          <p:cNvPr id="8" name="Rectangle: Rounded Corners 7">
            <a:extLst>
              <a:ext uri="{FF2B5EF4-FFF2-40B4-BE49-F238E27FC236}">
                <a16:creationId xmlns:a16="http://schemas.microsoft.com/office/drawing/2014/main" id="{CF888F36-9815-4F73-B555-0731C98D728D}"/>
              </a:ext>
            </a:extLst>
          </p:cNvPr>
          <p:cNvSpPr/>
          <p:nvPr/>
        </p:nvSpPr>
        <p:spPr>
          <a:xfrm>
            <a:off x="6026775"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 Automate</a:t>
            </a:r>
          </a:p>
        </p:txBody>
      </p:sp>
      <p:pic>
        <p:nvPicPr>
          <p:cNvPr id="5" name="Picture 4">
            <a:extLst>
              <a:ext uri="{FF2B5EF4-FFF2-40B4-BE49-F238E27FC236}">
                <a16:creationId xmlns:a16="http://schemas.microsoft.com/office/drawing/2014/main" id="{825CB521-4403-4A9D-96D1-45A4C33B8AF2}"/>
              </a:ext>
            </a:extLst>
          </p:cNvPr>
          <p:cNvPicPr>
            <a:picLocks noChangeAspect="1"/>
          </p:cNvPicPr>
          <p:nvPr/>
        </p:nvPicPr>
        <p:blipFill>
          <a:blip r:embed="rId3"/>
          <a:stretch>
            <a:fillRect/>
          </a:stretch>
        </p:blipFill>
        <p:spPr>
          <a:xfrm>
            <a:off x="607302" y="2106448"/>
            <a:ext cx="2214920" cy="2438274"/>
          </a:xfrm>
          <a:prstGeom prst="rect">
            <a:avLst/>
          </a:prstGeom>
        </p:spPr>
      </p:pic>
      <p:sp>
        <p:nvSpPr>
          <p:cNvPr id="7" name="TextBox 6">
            <a:extLst>
              <a:ext uri="{FF2B5EF4-FFF2-40B4-BE49-F238E27FC236}">
                <a16:creationId xmlns:a16="http://schemas.microsoft.com/office/drawing/2014/main" id="{6D37CA38-A85E-4A74-8D7A-07D269E62834}"/>
              </a:ext>
            </a:extLst>
          </p:cNvPr>
          <p:cNvSpPr txBox="1"/>
          <p:nvPr/>
        </p:nvSpPr>
        <p:spPr>
          <a:xfrm>
            <a:off x="441398" y="5015546"/>
            <a:ext cx="5225624" cy="1477328"/>
          </a:xfrm>
          <a:prstGeom prst="rect">
            <a:avLst/>
          </a:prstGeom>
          <a:noFill/>
        </p:spPr>
        <p:txBody>
          <a:bodyPr wrap="square" rtlCol="0">
            <a:spAutoFit/>
          </a:bodyPr>
          <a:lstStyle>
            <a:defPPr>
              <a:defRPr lang="en-US"/>
            </a:defPPr>
            <a:lvl1pPr>
              <a:defRPr sz="1400" b="0" i="0">
                <a:solidFill>
                  <a:srgbClr val="505050"/>
                </a:solidFill>
                <a:effectLst/>
                <a:latin typeface="Segoe UI Condensed"/>
              </a:defRPr>
            </a:lvl1pPr>
          </a:lstStyle>
          <a:p>
            <a:r>
              <a:rPr lang="en-US" dirty="0"/>
              <a:t>In SharePoint Designer 2010 it was not possible to create loops in workflows (or only in a quite painful way…). In SharePoint Designer 2013 there is a Loop activity which supports looping.</a:t>
            </a:r>
          </a:p>
          <a:p>
            <a:endParaRPr lang="en-US" dirty="0"/>
          </a:p>
        </p:txBody>
      </p:sp>
      <p:pic>
        <p:nvPicPr>
          <p:cNvPr id="4" name="Picture 2" descr="More">
            <a:extLst>
              <a:ext uri="{FF2B5EF4-FFF2-40B4-BE49-F238E27FC236}">
                <a16:creationId xmlns:a16="http://schemas.microsoft.com/office/drawing/2014/main" id="{A67645BD-7651-48FC-A76A-F95BF9F420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1950177"/>
            <a:ext cx="4400550" cy="22669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18628E04-7BD8-4A6F-9144-FDF46BBA12F9}"/>
              </a:ext>
            </a:extLst>
          </p:cNvPr>
          <p:cNvSpPr txBox="1"/>
          <p:nvPr/>
        </p:nvSpPr>
        <p:spPr>
          <a:xfrm>
            <a:off x="6096000" y="4442194"/>
            <a:ext cx="5169077" cy="1815882"/>
          </a:xfrm>
          <a:prstGeom prst="rect">
            <a:avLst/>
          </a:prstGeom>
          <a:noFill/>
        </p:spPr>
        <p:txBody>
          <a:bodyPr wrap="square" rtlCol="0">
            <a:spAutoFit/>
          </a:bodyPr>
          <a:lstStyle>
            <a:defPPr>
              <a:defRPr lang="en-US"/>
            </a:defPPr>
            <a:lvl1pPr>
              <a:defRPr sz="1400" b="0" i="0">
                <a:solidFill>
                  <a:srgbClr val="505050"/>
                </a:solidFill>
                <a:effectLst/>
                <a:latin typeface="Segoe UI Condensed"/>
              </a:defRPr>
            </a:lvl1pPr>
          </a:lstStyle>
          <a:p>
            <a:r>
              <a:rPr lang="en-US" dirty="0"/>
              <a:t>In some business process, </a:t>
            </a:r>
            <a:r>
              <a:rPr lang="en-US" b="0" i="0" dirty="0">
                <a:solidFill>
                  <a:srgbClr val="505050"/>
                </a:solidFill>
                <a:effectLst/>
                <a:latin typeface="Segoe UI Condensed"/>
              </a:rPr>
              <a:t>you will get a list of items returned by an action. </a:t>
            </a:r>
            <a:r>
              <a:rPr lang="en-US" b="1" dirty="0"/>
              <a:t>An apply to each </a:t>
            </a:r>
            <a:r>
              <a:rPr lang="en-US" dirty="0"/>
              <a:t>loop makes it possible to control the list that you repeat over. To add a loop, first click New Step and then select More.</a:t>
            </a:r>
          </a:p>
          <a:p>
            <a:endParaRPr lang="en-US" dirty="0"/>
          </a:p>
          <a:p>
            <a:r>
              <a:rPr lang="en-US" b="0" i="0" dirty="0">
                <a:solidFill>
                  <a:srgbClr val="505050"/>
                </a:solidFill>
                <a:effectLst/>
                <a:latin typeface="Segoe UI Condensed"/>
              </a:rPr>
              <a:t>A</a:t>
            </a:r>
            <a:r>
              <a:rPr lang="en-US" b="1" i="0" dirty="0">
                <a:solidFill>
                  <a:srgbClr val="505050"/>
                </a:solidFill>
                <a:effectLst/>
                <a:latin typeface="Segoe UI Condensed"/>
              </a:rPr>
              <a:t> do-until </a:t>
            </a:r>
            <a:r>
              <a:rPr lang="en-US" b="0" i="0" dirty="0">
                <a:solidFill>
                  <a:srgbClr val="505050"/>
                </a:solidFill>
                <a:effectLst/>
                <a:latin typeface="Segoe UI Condensed"/>
              </a:rPr>
              <a:t>loop allows you to repeat a step until a certain condition is met. The most common reason to use this is in approval scenarios.</a:t>
            </a:r>
            <a:endParaRPr lang="en-US" dirty="0"/>
          </a:p>
        </p:txBody>
      </p:sp>
    </p:spTree>
    <p:extLst>
      <p:ext uri="{BB962C8B-B14F-4D97-AF65-F5344CB8AC3E}">
        <p14:creationId xmlns:p14="http://schemas.microsoft.com/office/powerpoint/2010/main" val="5711230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47C82-7B3D-4C20-9A87-FD69531E87BE}"/>
              </a:ext>
            </a:extLst>
          </p:cNvPr>
          <p:cNvSpPr>
            <a:spLocks noGrp="1"/>
          </p:cNvSpPr>
          <p:nvPr>
            <p:ph type="title"/>
          </p:nvPr>
        </p:nvSpPr>
        <p:spPr>
          <a:xfrm>
            <a:off x="839788" y="365126"/>
            <a:ext cx="10515600" cy="966370"/>
          </a:xfrm>
        </p:spPr>
        <p:txBody>
          <a:bodyPr>
            <a:normAutofit fontScale="90000"/>
          </a:bodyPr>
          <a:lstStyle/>
          <a:p>
            <a:r>
              <a:rPr lang="en-US" sz="4900" dirty="0"/>
              <a:t>Looping  in Power Automate </a:t>
            </a:r>
            <a:br>
              <a:rPr lang="en-US" dirty="0">
                <a:solidFill>
                  <a:srgbClr val="767676"/>
                </a:solidFill>
                <a:latin typeface="SegoeUI"/>
              </a:rPr>
            </a:br>
            <a:endParaRPr lang="en-US" dirty="0"/>
          </a:p>
        </p:txBody>
      </p:sp>
      <p:sp>
        <p:nvSpPr>
          <p:cNvPr id="8" name="Rectangle: Rounded Corners 7">
            <a:extLst>
              <a:ext uri="{FF2B5EF4-FFF2-40B4-BE49-F238E27FC236}">
                <a16:creationId xmlns:a16="http://schemas.microsoft.com/office/drawing/2014/main" id="{CF888F36-9815-4F73-B555-0731C98D728D}"/>
              </a:ext>
            </a:extLst>
          </p:cNvPr>
          <p:cNvSpPr/>
          <p:nvPr/>
        </p:nvSpPr>
        <p:spPr>
          <a:xfrm>
            <a:off x="3870597" y="1062202"/>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 Automate</a:t>
            </a:r>
          </a:p>
        </p:txBody>
      </p:sp>
      <p:pic>
        <p:nvPicPr>
          <p:cNvPr id="9" name="Picture 2" descr="Add a condition">
            <a:extLst>
              <a:ext uri="{FF2B5EF4-FFF2-40B4-BE49-F238E27FC236}">
                <a16:creationId xmlns:a16="http://schemas.microsoft.com/office/drawing/2014/main" id="{5B8A6BB8-C8D5-4374-AA49-D02773DFC8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51568" y="1824259"/>
            <a:ext cx="4171950" cy="25908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FCD5379-1831-4514-A9F3-E3E8B1D8C1E7}"/>
              </a:ext>
            </a:extLst>
          </p:cNvPr>
          <p:cNvSpPr txBox="1"/>
          <p:nvPr/>
        </p:nvSpPr>
        <p:spPr>
          <a:xfrm>
            <a:off x="3238482" y="4850135"/>
            <a:ext cx="5715035" cy="954107"/>
          </a:xfrm>
          <a:prstGeom prst="rect">
            <a:avLst/>
          </a:prstGeom>
          <a:noFill/>
        </p:spPr>
        <p:txBody>
          <a:bodyPr wrap="square" rtlCol="0">
            <a:spAutoFit/>
          </a:bodyPr>
          <a:lstStyle/>
          <a:p>
            <a:r>
              <a:rPr lang="en-US" sz="1400" b="0" i="0" dirty="0">
                <a:solidFill>
                  <a:srgbClr val="505050"/>
                </a:solidFill>
                <a:effectLst/>
                <a:latin typeface="Segoe UI Condensed"/>
              </a:rPr>
              <a:t>Previously, you could have a single if-else statement, but that was the full extent of logic that was supported. Now you can add a second (or third, etc</a:t>
            </a:r>
            <a:r>
              <a:rPr lang="en-US" sz="1400" dirty="0">
                <a:solidFill>
                  <a:srgbClr val="505050"/>
                </a:solidFill>
                <a:latin typeface="Segoe UI Condensed"/>
              </a:rPr>
              <a:t>.,</a:t>
            </a:r>
            <a:r>
              <a:rPr lang="en-US" sz="1400" b="0" i="0" dirty="0">
                <a:solidFill>
                  <a:srgbClr val="505050"/>
                </a:solidFill>
                <a:effectLst/>
                <a:latin typeface="Segoe UI Condensed"/>
              </a:rPr>
              <a:t>) condition inside another. To do this, there is an option to </a:t>
            </a:r>
            <a:r>
              <a:rPr lang="en-US" sz="1400" b="1" i="0" dirty="0">
                <a:solidFill>
                  <a:srgbClr val="505050"/>
                </a:solidFill>
                <a:effectLst/>
                <a:latin typeface="Segoe UI Condensed"/>
              </a:rPr>
              <a:t>Add a condition</a:t>
            </a:r>
            <a:r>
              <a:rPr lang="en-US" sz="1400" b="0" i="0" dirty="0">
                <a:solidFill>
                  <a:srgbClr val="505050"/>
                </a:solidFill>
                <a:effectLst/>
                <a:latin typeface="Segoe UI Condensed"/>
              </a:rPr>
              <a:t>, even when you are inside another condition !</a:t>
            </a:r>
            <a:endParaRPr lang="en-US" sz="1400" dirty="0"/>
          </a:p>
        </p:txBody>
      </p:sp>
    </p:spTree>
    <p:extLst>
      <p:ext uri="{BB962C8B-B14F-4D97-AF65-F5344CB8AC3E}">
        <p14:creationId xmlns:p14="http://schemas.microsoft.com/office/powerpoint/2010/main" val="1215954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622" y="2535350"/>
            <a:ext cx="9859116" cy="1162178"/>
          </a:xfrm>
        </p:spPr>
        <p:txBody>
          <a:bodyPr/>
          <a:lstStyle/>
          <a:p>
            <a:r>
              <a:rPr lang="en-US" dirty="0">
                <a:solidFill>
                  <a:schemeClr val="bg1"/>
                </a:solidFill>
              </a:rPr>
              <a:t>Introduction </a:t>
            </a:r>
          </a:p>
        </p:txBody>
      </p:sp>
    </p:spTree>
    <p:extLst>
      <p:ext uri="{BB962C8B-B14F-4D97-AF65-F5344CB8AC3E}">
        <p14:creationId xmlns:p14="http://schemas.microsoft.com/office/powerpoint/2010/main" val="487109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47C82-7B3D-4C20-9A87-FD69531E87BE}"/>
              </a:ext>
            </a:extLst>
          </p:cNvPr>
          <p:cNvSpPr>
            <a:spLocks noGrp="1"/>
          </p:cNvSpPr>
          <p:nvPr>
            <p:ph type="title"/>
          </p:nvPr>
        </p:nvSpPr>
        <p:spPr>
          <a:xfrm>
            <a:off x="839788" y="365126"/>
            <a:ext cx="10515600" cy="966370"/>
          </a:xfrm>
        </p:spPr>
        <p:txBody>
          <a:bodyPr>
            <a:normAutofit fontScale="90000"/>
          </a:bodyPr>
          <a:lstStyle/>
          <a:p>
            <a:r>
              <a:rPr lang="en-US" sz="4900" dirty="0"/>
              <a:t>Expressions Comparison </a:t>
            </a:r>
            <a:br>
              <a:rPr lang="en-US" dirty="0">
                <a:solidFill>
                  <a:srgbClr val="767676"/>
                </a:solidFill>
                <a:latin typeface="SegoeUI"/>
              </a:rPr>
            </a:br>
            <a:endParaRPr lang="en-US" dirty="0"/>
          </a:p>
        </p:txBody>
      </p:sp>
      <p:sp>
        <p:nvSpPr>
          <p:cNvPr id="3" name="Rectangle: Rounded Corners 2">
            <a:extLst>
              <a:ext uri="{FF2B5EF4-FFF2-40B4-BE49-F238E27FC236}">
                <a16:creationId xmlns:a16="http://schemas.microsoft.com/office/drawing/2014/main" id="{A3B411ED-F2BA-43B8-87F0-34D285E29504}"/>
              </a:ext>
            </a:extLst>
          </p:cNvPr>
          <p:cNvSpPr/>
          <p:nvPr/>
        </p:nvSpPr>
        <p:spPr>
          <a:xfrm>
            <a:off x="381919"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Point Designer</a:t>
            </a:r>
          </a:p>
        </p:txBody>
      </p:sp>
      <p:sp>
        <p:nvSpPr>
          <p:cNvPr id="8" name="Rectangle: Rounded Corners 7">
            <a:extLst>
              <a:ext uri="{FF2B5EF4-FFF2-40B4-BE49-F238E27FC236}">
                <a16:creationId xmlns:a16="http://schemas.microsoft.com/office/drawing/2014/main" id="{CF888F36-9815-4F73-B555-0731C98D728D}"/>
              </a:ext>
            </a:extLst>
          </p:cNvPr>
          <p:cNvSpPr/>
          <p:nvPr/>
        </p:nvSpPr>
        <p:spPr>
          <a:xfrm>
            <a:off x="6026775" y="1095994"/>
            <a:ext cx="3718156" cy="6323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 Automate</a:t>
            </a:r>
          </a:p>
        </p:txBody>
      </p:sp>
      <p:sp>
        <p:nvSpPr>
          <p:cNvPr id="7" name="TextBox 6">
            <a:extLst>
              <a:ext uri="{FF2B5EF4-FFF2-40B4-BE49-F238E27FC236}">
                <a16:creationId xmlns:a16="http://schemas.microsoft.com/office/drawing/2014/main" id="{6D37CA38-A85E-4A74-8D7A-07D269E62834}"/>
              </a:ext>
            </a:extLst>
          </p:cNvPr>
          <p:cNvSpPr txBox="1"/>
          <p:nvPr/>
        </p:nvSpPr>
        <p:spPr>
          <a:xfrm>
            <a:off x="441398" y="5015546"/>
            <a:ext cx="5225624" cy="523220"/>
          </a:xfrm>
          <a:prstGeom prst="rect">
            <a:avLst/>
          </a:prstGeom>
          <a:noFill/>
        </p:spPr>
        <p:txBody>
          <a:bodyPr wrap="square" rtlCol="0">
            <a:spAutoFit/>
          </a:bodyPr>
          <a:lstStyle>
            <a:defPPr>
              <a:defRPr lang="en-US"/>
            </a:defPPr>
            <a:lvl1pPr>
              <a:defRPr sz="1400" b="0" i="0">
                <a:solidFill>
                  <a:srgbClr val="505050"/>
                </a:solidFill>
                <a:effectLst/>
                <a:latin typeface="Segoe UI Condensed"/>
              </a:defRPr>
            </a:lvl1pPr>
          </a:lstStyle>
          <a:p>
            <a:r>
              <a:rPr lang="en-US" b="0" i="0" dirty="0">
                <a:solidFill>
                  <a:srgbClr val="767676"/>
                </a:solidFill>
                <a:effectLst/>
                <a:latin typeface="SegoeUI"/>
              </a:rPr>
              <a:t>With Designer workflows, we had to a limited set of string manipulation actions and several calculation actions. </a:t>
            </a:r>
            <a:endParaRPr lang="en-US" dirty="0"/>
          </a:p>
        </p:txBody>
      </p:sp>
      <p:pic>
        <p:nvPicPr>
          <p:cNvPr id="14" name="Picture 13">
            <a:extLst>
              <a:ext uri="{FF2B5EF4-FFF2-40B4-BE49-F238E27FC236}">
                <a16:creationId xmlns:a16="http://schemas.microsoft.com/office/drawing/2014/main" id="{5E06DF2F-2E5C-436C-A160-29BF07A2CD15}"/>
              </a:ext>
            </a:extLst>
          </p:cNvPr>
          <p:cNvPicPr>
            <a:picLocks noChangeAspect="1"/>
          </p:cNvPicPr>
          <p:nvPr/>
        </p:nvPicPr>
        <p:blipFill>
          <a:blip r:embed="rId3"/>
          <a:stretch>
            <a:fillRect/>
          </a:stretch>
        </p:blipFill>
        <p:spPr>
          <a:xfrm>
            <a:off x="2772393" y="2041495"/>
            <a:ext cx="2395813" cy="1672549"/>
          </a:xfrm>
          <a:prstGeom prst="rect">
            <a:avLst/>
          </a:prstGeom>
        </p:spPr>
      </p:pic>
      <p:pic>
        <p:nvPicPr>
          <p:cNvPr id="16" name="Picture 15">
            <a:extLst>
              <a:ext uri="{FF2B5EF4-FFF2-40B4-BE49-F238E27FC236}">
                <a16:creationId xmlns:a16="http://schemas.microsoft.com/office/drawing/2014/main" id="{097AF5B0-72B5-4D4C-BC9E-EC3261028378}"/>
              </a:ext>
            </a:extLst>
          </p:cNvPr>
          <p:cNvPicPr>
            <a:picLocks noChangeAspect="1"/>
          </p:cNvPicPr>
          <p:nvPr/>
        </p:nvPicPr>
        <p:blipFill>
          <a:blip r:embed="rId4"/>
          <a:stretch>
            <a:fillRect/>
          </a:stretch>
        </p:blipFill>
        <p:spPr>
          <a:xfrm>
            <a:off x="441397" y="2041495"/>
            <a:ext cx="2330997" cy="2767572"/>
          </a:xfrm>
          <a:prstGeom prst="rect">
            <a:avLst/>
          </a:prstGeom>
        </p:spPr>
      </p:pic>
      <p:pic>
        <p:nvPicPr>
          <p:cNvPr id="24" name="Picture 23">
            <a:extLst>
              <a:ext uri="{FF2B5EF4-FFF2-40B4-BE49-F238E27FC236}">
                <a16:creationId xmlns:a16="http://schemas.microsoft.com/office/drawing/2014/main" id="{8A3FA415-0D72-43C0-B35F-B541BEB5BACB}"/>
              </a:ext>
            </a:extLst>
          </p:cNvPr>
          <p:cNvPicPr>
            <a:picLocks noChangeAspect="1"/>
          </p:cNvPicPr>
          <p:nvPr/>
        </p:nvPicPr>
        <p:blipFill>
          <a:blip r:embed="rId5"/>
          <a:stretch>
            <a:fillRect/>
          </a:stretch>
        </p:blipFill>
        <p:spPr>
          <a:xfrm>
            <a:off x="6096000" y="1985384"/>
            <a:ext cx="5950916" cy="1977015"/>
          </a:xfrm>
          <a:prstGeom prst="rect">
            <a:avLst/>
          </a:prstGeom>
        </p:spPr>
      </p:pic>
      <p:pic>
        <p:nvPicPr>
          <p:cNvPr id="26" name="Picture 25">
            <a:extLst>
              <a:ext uri="{FF2B5EF4-FFF2-40B4-BE49-F238E27FC236}">
                <a16:creationId xmlns:a16="http://schemas.microsoft.com/office/drawing/2014/main" id="{AD87A1DB-0C68-4941-8A0E-8361DA9F6481}"/>
              </a:ext>
            </a:extLst>
          </p:cNvPr>
          <p:cNvPicPr>
            <a:picLocks noChangeAspect="1"/>
          </p:cNvPicPr>
          <p:nvPr/>
        </p:nvPicPr>
        <p:blipFill>
          <a:blip r:embed="rId6"/>
          <a:stretch>
            <a:fillRect/>
          </a:stretch>
        </p:blipFill>
        <p:spPr>
          <a:xfrm>
            <a:off x="6055517" y="3627409"/>
            <a:ext cx="3364089" cy="3012128"/>
          </a:xfrm>
          <a:prstGeom prst="rect">
            <a:avLst/>
          </a:prstGeom>
        </p:spPr>
      </p:pic>
      <p:cxnSp>
        <p:nvCxnSpPr>
          <p:cNvPr id="28" name="Straight Arrow Connector 27">
            <a:extLst>
              <a:ext uri="{FF2B5EF4-FFF2-40B4-BE49-F238E27FC236}">
                <a16:creationId xmlns:a16="http://schemas.microsoft.com/office/drawing/2014/main" id="{E868088D-AE53-4C41-8390-EE90F0D08A52}"/>
              </a:ext>
            </a:extLst>
          </p:cNvPr>
          <p:cNvCxnSpPr>
            <a:cxnSpLocks/>
          </p:cNvCxnSpPr>
          <p:nvPr/>
        </p:nvCxnSpPr>
        <p:spPr>
          <a:xfrm flipH="1">
            <a:off x="9419606" y="3793067"/>
            <a:ext cx="1429016" cy="355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A3C2209-DABB-483E-BA2C-8CF597262412}"/>
              </a:ext>
            </a:extLst>
          </p:cNvPr>
          <p:cNvCxnSpPr>
            <a:cxnSpLocks/>
          </p:cNvCxnSpPr>
          <p:nvPr/>
        </p:nvCxnSpPr>
        <p:spPr>
          <a:xfrm flipV="1">
            <a:off x="6863644" y="3567290"/>
            <a:ext cx="1298223" cy="1162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91880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1DD74-ECFF-4F6D-A99A-166E150EA5D9}"/>
              </a:ext>
            </a:extLst>
          </p:cNvPr>
          <p:cNvSpPr>
            <a:spLocks noGrp="1"/>
          </p:cNvSpPr>
          <p:nvPr>
            <p:ph type="title"/>
          </p:nvPr>
        </p:nvSpPr>
        <p:spPr>
          <a:xfrm>
            <a:off x="376331" y="365125"/>
            <a:ext cx="11306326" cy="1325563"/>
          </a:xfrm>
        </p:spPr>
        <p:txBody>
          <a:bodyPr/>
          <a:lstStyle/>
          <a:p>
            <a:r>
              <a:rPr lang="en-US" dirty="0"/>
              <a:t>How to check workflow instances - difference</a:t>
            </a:r>
          </a:p>
        </p:txBody>
      </p:sp>
      <p:pic>
        <p:nvPicPr>
          <p:cNvPr id="6" name="Picture 5">
            <a:extLst>
              <a:ext uri="{FF2B5EF4-FFF2-40B4-BE49-F238E27FC236}">
                <a16:creationId xmlns:a16="http://schemas.microsoft.com/office/drawing/2014/main" id="{474E295D-63BC-4D13-A39C-E06F149CCED4}"/>
              </a:ext>
            </a:extLst>
          </p:cNvPr>
          <p:cNvPicPr>
            <a:picLocks noChangeAspect="1"/>
          </p:cNvPicPr>
          <p:nvPr/>
        </p:nvPicPr>
        <p:blipFill>
          <a:blip r:embed="rId3"/>
          <a:stretch>
            <a:fillRect/>
          </a:stretch>
        </p:blipFill>
        <p:spPr>
          <a:xfrm>
            <a:off x="314828" y="3429000"/>
            <a:ext cx="11536037" cy="3486005"/>
          </a:xfrm>
          <a:prstGeom prst="rect">
            <a:avLst/>
          </a:prstGeom>
        </p:spPr>
      </p:pic>
      <p:sp>
        <p:nvSpPr>
          <p:cNvPr id="12" name="Arrow: Pentagon 11">
            <a:extLst>
              <a:ext uri="{FF2B5EF4-FFF2-40B4-BE49-F238E27FC236}">
                <a16:creationId xmlns:a16="http://schemas.microsoft.com/office/drawing/2014/main" id="{80EC17CE-E4E2-4F95-B4DF-C70D3C1A53AD}"/>
              </a:ext>
            </a:extLst>
          </p:cNvPr>
          <p:cNvSpPr/>
          <p:nvPr/>
        </p:nvSpPr>
        <p:spPr>
          <a:xfrm>
            <a:off x="376331" y="1496905"/>
            <a:ext cx="5719669" cy="1694409"/>
          </a:xfrm>
          <a:prstGeom prst="homePlat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u="sng" dirty="0"/>
              <a:t>SharePoint Workflow</a:t>
            </a:r>
          </a:p>
          <a:p>
            <a:pPr algn="ctr"/>
            <a:r>
              <a:rPr lang="en-US" dirty="0"/>
              <a:t>The Workflow Status page provides the following information and options:</a:t>
            </a:r>
          </a:p>
        </p:txBody>
      </p:sp>
      <p:sp>
        <p:nvSpPr>
          <p:cNvPr id="13" name="Rectangle 12">
            <a:extLst>
              <a:ext uri="{FF2B5EF4-FFF2-40B4-BE49-F238E27FC236}">
                <a16:creationId xmlns:a16="http://schemas.microsoft.com/office/drawing/2014/main" id="{044A855E-931F-4653-AB55-CA451EEB9E11}"/>
              </a:ext>
            </a:extLst>
          </p:cNvPr>
          <p:cNvSpPr/>
          <p:nvPr/>
        </p:nvSpPr>
        <p:spPr>
          <a:xfrm>
            <a:off x="6284585" y="1274535"/>
            <a:ext cx="5531084" cy="213915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t>Name of the person who started the workflow</a:t>
            </a:r>
          </a:p>
          <a:p>
            <a:pPr marL="285750" indent="-285750">
              <a:buFont typeface="Arial" panose="020B0604020202020204" pitchFamily="34" charset="0"/>
              <a:buChar char="•"/>
            </a:pPr>
            <a:r>
              <a:rPr lang="en-US" dirty="0"/>
              <a:t>Date and time the workflow started</a:t>
            </a:r>
          </a:p>
          <a:p>
            <a:pPr marL="285750" indent="-285750">
              <a:buFont typeface="Arial" panose="020B0604020202020204" pitchFamily="34" charset="0"/>
              <a:buChar char="•"/>
            </a:pPr>
            <a:r>
              <a:rPr lang="en-US" dirty="0"/>
              <a:t>Date and time the workflow was last run</a:t>
            </a:r>
          </a:p>
          <a:p>
            <a:pPr marL="285750" indent="-285750">
              <a:buFont typeface="Arial" panose="020B0604020202020204" pitchFamily="34" charset="0"/>
              <a:buChar char="•"/>
            </a:pPr>
            <a:r>
              <a:rPr lang="en-US" dirty="0"/>
              <a:t>Name and link to the document or</a:t>
            </a:r>
          </a:p>
          <a:p>
            <a:pPr marL="285750" indent="-285750">
              <a:buFont typeface="Arial" panose="020B0604020202020204" pitchFamily="34" charset="0"/>
              <a:buChar char="•"/>
            </a:pPr>
            <a:r>
              <a:rPr lang="en-US" dirty="0"/>
              <a:t>Item involved in the workflow</a:t>
            </a:r>
          </a:p>
          <a:p>
            <a:pPr marL="285750" indent="-285750">
              <a:buFont typeface="Arial" panose="020B0604020202020204" pitchFamily="34" charset="0"/>
              <a:buChar char="•"/>
            </a:pPr>
            <a:r>
              <a:rPr lang="en-US" dirty="0"/>
              <a:t>Current status of the workflow</a:t>
            </a:r>
          </a:p>
          <a:p>
            <a:pPr marL="285750" indent="-285750">
              <a:buFont typeface="Arial" panose="020B0604020202020204" pitchFamily="34" charset="0"/>
              <a:buChar char="•"/>
            </a:pPr>
            <a:r>
              <a:rPr lang="en-US" dirty="0"/>
              <a:t>The option to terminate the workflow</a:t>
            </a:r>
          </a:p>
        </p:txBody>
      </p:sp>
    </p:spTree>
    <p:extLst>
      <p:ext uri="{BB962C8B-B14F-4D97-AF65-F5344CB8AC3E}">
        <p14:creationId xmlns:p14="http://schemas.microsoft.com/office/powerpoint/2010/main" val="11618872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11">
            <a:extLst>
              <a:ext uri="{FF2B5EF4-FFF2-40B4-BE49-F238E27FC236}">
                <a16:creationId xmlns:a16="http://schemas.microsoft.com/office/drawing/2014/main" id="{84DF55BE-B4AB-4BA1-BDE1-E9F7FB3F11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9B1DD74-ECFF-4F6D-A99A-166E150EA5D9}"/>
              </a:ext>
            </a:extLst>
          </p:cNvPr>
          <p:cNvSpPr>
            <a:spLocks noGrp="1"/>
          </p:cNvSpPr>
          <p:nvPr>
            <p:ph type="title"/>
          </p:nvPr>
        </p:nvSpPr>
        <p:spPr>
          <a:xfrm>
            <a:off x="841248" y="539578"/>
            <a:ext cx="10040717" cy="1168109"/>
          </a:xfrm>
        </p:spPr>
        <p:txBody>
          <a:bodyPr>
            <a:normAutofit/>
          </a:bodyPr>
          <a:lstStyle/>
          <a:p>
            <a:r>
              <a:rPr lang="en-US" sz="4000" dirty="0"/>
              <a:t>How to check workflow instances - difference</a:t>
            </a:r>
          </a:p>
        </p:txBody>
      </p:sp>
      <p:pic>
        <p:nvPicPr>
          <p:cNvPr id="6" name="Picture 5">
            <a:extLst>
              <a:ext uri="{FF2B5EF4-FFF2-40B4-BE49-F238E27FC236}">
                <a16:creationId xmlns:a16="http://schemas.microsoft.com/office/drawing/2014/main" id="{079A66F5-58DC-4A0E-A0F9-10F11F321E6E}"/>
              </a:ext>
            </a:extLst>
          </p:cNvPr>
          <p:cNvPicPr>
            <a:picLocks noChangeAspect="1"/>
          </p:cNvPicPr>
          <p:nvPr/>
        </p:nvPicPr>
        <p:blipFill>
          <a:blip r:embed="rId3"/>
          <a:stretch>
            <a:fillRect/>
          </a:stretch>
        </p:blipFill>
        <p:spPr>
          <a:xfrm>
            <a:off x="5284773" y="3263589"/>
            <a:ext cx="6939009" cy="2639794"/>
          </a:xfrm>
          <a:prstGeom prst="rect">
            <a:avLst/>
          </a:prstGeom>
        </p:spPr>
      </p:pic>
      <p:pic>
        <p:nvPicPr>
          <p:cNvPr id="7" name="Picture 6">
            <a:extLst>
              <a:ext uri="{FF2B5EF4-FFF2-40B4-BE49-F238E27FC236}">
                <a16:creationId xmlns:a16="http://schemas.microsoft.com/office/drawing/2014/main" id="{5469921A-6787-41F4-893A-0492055C6344}"/>
              </a:ext>
            </a:extLst>
          </p:cNvPr>
          <p:cNvPicPr>
            <a:picLocks noChangeAspect="1"/>
          </p:cNvPicPr>
          <p:nvPr/>
        </p:nvPicPr>
        <p:blipFill>
          <a:blip r:embed="rId4"/>
          <a:stretch>
            <a:fillRect/>
          </a:stretch>
        </p:blipFill>
        <p:spPr>
          <a:xfrm>
            <a:off x="28732" y="3272179"/>
            <a:ext cx="5256041" cy="2622614"/>
          </a:xfrm>
          <a:prstGeom prst="rect">
            <a:avLst/>
          </a:prstGeom>
        </p:spPr>
      </p:pic>
      <p:grpSp>
        <p:nvGrpSpPr>
          <p:cNvPr id="9" name="Group 8">
            <a:extLst>
              <a:ext uri="{FF2B5EF4-FFF2-40B4-BE49-F238E27FC236}">
                <a16:creationId xmlns:a16="http://schemas.microsoft.com/office/drawing/2014/main" id="{A06167F3-1E58-4AAD-BB16-4EE683EEB95A}"/>
              </a:ext>
            </a:extLst>
          </p:cNvPr>
          <p:cNvGrpSpPr/>
          <p:nvPr/>
        </p:nvGrpSpPr>
        <p:grpSpPr>
          <a:xfrm>
            <a:off x="838199" y="1509337"/>
            <a:ext cx="8625384" cy="1475856"/>
            <a:chOff x="0" y="50791"/>
            <a:chExt cx="5228328" cy="1060881"/>
          </a:xfrm>
        </p:grpSpPr>
        <p:sp>
          <p:nvSpPr>
            <p:cNvPr id="29" name="Rectangle: Rounded Corners 28">
              <a:extLst>
                <a:ext uri="{FF2B5EF4-FFF2-40B4-BE49-F238E27FC236}">
                  <a16:creationId xmlns:a16="http://schemas.microsoft.com/office/drawing/2014/main" id="{33E23874-E231-4C14-AD9F-CC92694B7B1B}"/>
                </a:ext>
              </a:extLst>
            </p:cNvPr>
            <p:cNvSpPr/>
            <p:nvPr/>
          </p:nvSpPr>
          <p:spPr>
            <a:xfrm>
              <a:off x="0" y="50791"/>
              <a:ext cx="5228328" cy="1060881"/>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Rectangle: Rounded Corners 4">
              <a:extLst>
                <a:ext uri="{FF2B5EF4-FFF2-40B4-BE49-F238E27FC236}">
                  <a16:creationId xmlns:a16="http://schemas.microsoft.com/office/drawing/2014/main" id="{D642F213-0D0E-49B0-8E43-37DA2CFA84CD}"/>
                </a:ext>
              </a:extLst>
            </p:cNvPr>
            <p:cNvSpPr txBox="1"/>
            <p:nvPr/>
          </p:nvSpPr>
          <p:spPr>
            <a:xfrm>
              <a:off x="51788" y="129946"/>
              <a:ext cx="5124752" cy="90257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ctr" anchorCtr="0">
              <a:noAutofit/>
            </a:bodyPr>
            <a:lstStyle/>
            <a:p>
              <a:pPr marL="0" indent="0">
                <a:buNone/>
              </a:pPr>
              <a:r>
                <a:rPr lang="en-US" sz="2800" b="1" u="sng" dirty="0"/>
                <a:t>Power Automate</a:t>
              </a:r>
            </a:p>
            <a:p>
              <a:pPr marL="342900" indent="-342900">
                <a:buFont typeface="Arial" panose="020B0604020202020204" pitchFamily="34" charset="0"/>
                <a:buChar char="•"/>
              </a:pPr>
              <a:r>
                <a:rPr lang="en-US" sz="2400" dirty="0"/>
                <a:t>You can see the Run history for each flow that you have</a:t>
              </a:r>
            </a:p>
            <a:p>
              <a:pPr marL="342900" indent="-342900">
                <a:buFont typeface="Arial" panose="020B0604020202020204" pitchFamily="34" charset="0"/>
                <a:buChar char="•"/>
              </a:pPr>
              <a:r>
                <a:rPr lang="en-US" sz="2400" dirty="0"/>
                <a:t>History retention is 30 days </a:t>
              </a:r>
            </a:p>
          </p:txBody>
        </p:sp>
      </p:grpSp>
    </p:spTree>
    <p:extLst>
      <p:ext uri="{BB962C8B-B14F-4D97-AF65-F5344CB8AC3E}">
        <p14:creationId xmlns:p14="http://schemas.microsoft.com/office/powerpoint/2010/main" val="39822484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11477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99FED-FFAA-40BD-B777-AB05CBEC9096}"/>
              </a:ext>
            </a:extLst>
          </p:cNvPr>
          <p:cNvSpPr>
            <a:spLocks noGrp="1"/>
          </p:cNvSpPr>
          <p:nvPr>
            <p:ph type="title"/>
          </p:nvPr>
        </p:nvSpPr>
        <p:spPr>
          <a:xfrm>
            <a:off x="765531" y="78365"/>
            <a:ext cx="10776497" cy="973012"/>
          </a:xfrm>
        </p:spPr>
        <p:txBody>
          <a:bodyPr>
            <a:normAutofit fontScale="90000"/>
          </a:bodyPr>
          <a:lstStyle/>
          <a:p>
            <a:r>
              <a:rPr lang="en-US" dirty="0"/>
              <a:t>Pain points in moving from SPD to Power Automate</a:t>
            </a:r>
          </a:p>
        </p:txBody>
      </p:sp>
      <p:sp>
        <p:nvSpPr>
          <p:cNvPr id="4" name="Rectangle 3">
            <a:extLst>
              <a:ext uri="{FF2B5EF4-FFF2-40B4-BE49-F238E27FC236}">
                <a16:creationId xmlns:a16="http://schemas.microsoft.com/office/drawing/2014/main" id="{0A9D2BA3-2FD2-4604-9EAA-0926C43D77BB}"/>
              </a:ext>
            </a:extLst>
          </p:cNvPr>
          <p:cNvSpPr/>
          <p:nvPr/>
        </p:nvSpPr>
        <p:spPr>
          <a:xfrm>
            <a:off x="408754" y="1168620"/>
            <a:ext cx="4802114" cy="92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Pain Points</a:t>
            </a:r>
          </a:p>
        </p:txBody>
      </p:sp>
      <p:sp>
        <p:nvSpPr>
          <p:cNvPr id="5" name="Rectangle: Rounded Corners 4">
            <a:extLst>
              <a:ext uri="{FF2B5EF4-FFF2-40B4-BE49-F238E27FC236}">
                <a16:creationId xmlns:a16="http://schemas.microsoft.com/office/drawing/2014/main" id="{AF237EA0-D3CD-463B-AF93-422ED0564AE1}"/>
              </a:ext>
            </a:extLst>
          </p:cNvPr>
          <p:cNvSpPr/>
          <p:nvPr/>
        </p:nvSpPr>
        <p:spPr>
          <a:xfrm>
            <a:off x="381504" y="2571016"/>
            <a:ext cx="4802114" cy="127756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30 day run limit for Power Automate flows </a:t>
            </a:r>
          </a:p>
          <a:p>
            <a:pPr algn="ctr"/>
            <a:endParaRPr lang="en-US" dirty="0"/>
          </a:p>
        </p:txBody>
      </p:sp>
      <p:sp>
        <p:nvSpPr>
          <p:cNvPr id="7" name="Rectangle: Rounded Corners 6">
            <a:extLst>
              <a:ext uri="{FF2B5EF4-FFF2-40B4-BE49-F238E27FC236}">
                <a16:creationId xmlns:a16="http://schemas.microsoft.com/office/drawing/2014/main" id="{55358A3E-168A-4D32-9B87-777EA81C1DA1}"/>
              </a:ext>
            </a:extLst>
          </p:cNvPr>
          <p:cNvSpPr/>
          <p:nvPr/>
        </p:nvSpPr>
        <p:spPr>
          <a:xfrm>
            <a:off x="381504" y="4371564"/>
            <a:ext cx="4802114" cy="1344950"/>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0" dirty="0">
                <a:solidFill>
                  <a:schemeClr val="bg1"/>
                </a:solidFill>
                <a:effectLst/>
                <a:latin typeface="Segoe UI" panose="020B0502040204020203" pitchFamily="34" charset="0"/>
              </a:rPr>
              <a:t>HTTP Connector</a:t>
            </a:r>
            <a:r>
              <a:rPr lang="en-US" b="0" i="0" dirty="0">
                <a:solidFill>
                  <a:schemeClr val="bg1"/>
                </a:solidFill>
                <a:effectLst/>
                <a:latin typeface="Segoe UI" panose="020B0502040204020203" pitchFamily="34" charset="0"/>
              </a:rPr>
              <a:t> </a:t>
            </a:r>
            <a:endParaRPr lang="en-US" dirty="0">
              <a:solidFill>
                <a:schemeClr val="bg1"/>
              </a:solidFill>
            </a:endParaRPr>
          </a:p>
        </p:txBody>
      </p:sp>
      <p:sp>
        <p:nvSpPr>
          <p:cNvPr id="14" name="Arrow: Down 13">
            <a:extLst>
              <a:ext uri="{FF2B5EF4-FFF2-40B4-BE49-F238E27FC236}">
                <a16:creationId xmlns:a16="http://schemas.microsoft.com/office/drawing/2014/main" id="{FFA8EB50-0281-4AF4-92DC-BFA4D59CD850}"/>
              </a:ext>
            </a:extLst>
          </p:cNvPr>
          <p:cNvSpPr/>
          <p:nvPr/>
        </p:nvSpPr>
        <p:spPr>
          <a:xfrm>
            <a:off x="2370776" y="2207983"/>
            <a:ext cx="429950" cy="18166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18E06AEA-5C11-47FB-B7B8-690C8C2AB15F}"/>
              </a:ext>
            </a:extLst>
          </p:cNvPr>
          <p:cNvSpPr/>
          <p:nvPr/>
        </p:nvSpPr>
        <p:spPr>
          <a:xfrm>
            <a:off x="6096000" y="1159435"/>
            <a:ext cx="4802114" cy="92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Workaround</a:t>
            </a:r>
          </a:p>
        </p:txBody>
      </p:sp>
      <p:sp>
        <p:nvSpPr>
          <p:cNvPr id="18" name="Arrow: Down 17">
            <a:extLst>
              <a:ext uri="{FF2B5EF4-FFF2-40B4-BE49-F238E27FC236}">
                <a16:creationId xmlns:a16="http://schemas.microsoft.com/office/drawing/2014/main" id="{589789D8-F5BC-47ED-B5A2-39D292589F01}"/>
              </a:ext>
            </a:extLst>
          </p:cNvPr>
          <p:cNvSpPr/>
          <p:nvPr/>
        </p:nvSpPr>
        <p:spPr>
          <a:xfrm>
            <a:off x="8418333" y="2194005"/>
            <a:ext cx="429950" cy="18166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Rounded Corners 19">
            <a:extLst>
              <a:ext uri="{FF2B5EF4-FFF2-40B4-BE49-F238E27FC236}">
                <a16:creationId xmlns:a16="http://schemas.microsoft.com/office/drawing/2014/main" id="{F7B33115-E882-4086-9047-8A237E9825CB}"/>
              </a:ext>
            </a:extLst>
          </p:cNvPr>
          <p:cNvSpPr/>
          <p:nvPr/>
        </p:nvSpPr>
        <p:spPr>
          <a:xfrm>
            <a:off x="6096000" y="2582047"/>
            <a:ext cx="4802114" cy="1277564"/>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flow will need to call itself in a re-entrant way to restart the clock</a:t>
            </a:r>
            <a:endParaRPr lang="en-US" dirty="0"/>
          </a:p>
        </p:txBody>
      </p:sp>
      <p:sp>
        <p:nvSpPr>
          <p:cNvPr id="22" name="Rectangle: Rounded Corners 21">
            <a:extLst>
              <a:ext uri="{FF2B5EF4-FFF2-40B4-BE49-F238E27FC236}">
                <a16:creationId xmlns:a16="http://schemas.microsoft.com/office/drawing/2014/main" id="{DDCC9D30-ECC0-4130-8ED5-44EE7B60A093}"/>
              </a:ext>
            </a:extLst>
          </p:cNvPr>
          <p:cNvSpPr/>
          <p:nvPr/>
        </p:nvSpPr>
        <p:spPr>
          <a:xfrm>
            <a:off x="6163119" y="4371564"/>
            <a:ext cx="4802114" cy="1344950"/>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Flow has a generic HTTP connector, but it is a Premium connector. If you use HTTP calls extensively, you can create a “service account” user with a Power Automate license to run these flows</a:t>
            </a:r>
            <a:endParaRPr lang="en-US" dirty="0"/>
          </a:p>
        </p:txBody>
      </p:sp>
      <p:sp>
        <p:nvSpPr>
          <p:cNvPr id="3" name="Arrow: Right 2">
            <a:extLst>
              <a:ext uri="{FF2B5EF4-FFF2-40B4-BE49-F238E27FC236}">
                <a16:creationId xmlns:a16="http://schemas.microsoft.com/office/drawing/2014/main" id="{8DF49AE6-6071-4EC7-9975-27364C7D1C50}"/>
              </a:ext>
            </a:extLst>
          </p:cNvPr>
          <p:cNvSpPr/>
          <p:nvPr/>
        </p:nvSpPr>
        <p:spPr>
          <a:xfrm>
            <a:off x="5353176" y="3064148"/>
            <a:ext cx="641897" cy="3648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Arrow: Right 5">
            <a:extLst>
              <a:ext uri="{FF2B5EF4-FFF2-40B4-BE49-F238E27FC236}">
                <a16:creationId xmlns:a16="http://schemas.microsoft.com/office/drawing/2014/main" id="{E3833D62-7736-47A8-B428-D56598AED7ED}"/>
              </a:ext>
            </a:extLst>
          </p:cNvPr>
          <p:cNvSpPr/>
          <p:nvPr/>
        </p:nvSpPr>
        <p:spPr>
          <a:xfrm>
            <a:off x="5386986" y="4861613"/>
            <a:ext cx="641897" cy="3648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322149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99FED-FFAA-40BD-B777-AB05CBEC9096}"/>
              </a:ext>
            </a:extLst>
          </p:cNvPr>
          <p:cNvSpPr>
            <a:spLocks noGrp="1"/>
          </p:cNvSpPr>
          <p:nvPr>
            <p:ph type="title"/>
          </p:nvPr>
        </p:nvSpPr>
        <p:spPr>
          <a:xfrm>
            <a:off x="765531" y="78365"/>
            <a:ext cx="10776497" cy="973012"/>
          </a:xfrm>
        </p:spPr>
        <p:txBody>
          <a:bodyPr>
            <a:normAutofit fontScale="90000"/>
          </a:bodyPr>
          <a:lstStyle/>
          <a:p>
            <a:r>
              <a:rPr lang="en-US" dirty="0"/>
              <a:t>Pain points in moving from SPD to Power Automate</a:t>
            </a:r>
          </a:p>
        </p:txBody>
      </p:sp>
      <p:sp>
        <p:nvSpPr>
          <p:cNvPr id="4" name="Rectangle 3">
            <a:extLst>
              <a:ext uri="{FF2B5EF4-FFF2-40B4-BE49-F238E27FC236}">
                <a16:creationId xmlns:a16="http://schemas.microsoft.com/office/drawing/2014/main" id="{0A9D2BA3-2FD2-4604-9EAA-0926C43D77BB}"/>
              </a:ext>
            </a:extLst>
          </p:cNvPr>
          <p:cNvSpPr/>
          <p:nvPr/>
        </p:nvSpPr>
        <p:spPr>
          <a:xfrm>
            <a:off x="408754" y="1168620"/>
            <a:ext cx="4802114" cy="92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Pain Points</a:t>
            </a:r>
          </a:p>
        </p:txBody>
      </p:sp>
      <p:sp>
        <p:nvSpPr>
          <p:cNvPr id="5" name="Rectangle: Rounded Corners 4">
            <a:extLst>
              <a:ext uri="{FF2B5EF4-FFF2-40B4-BE49-F238E27FC236}">
                <a16:creationId xmlns:a16="http://schemas.microsoft.com/office/drawing/2014/main" id="{AF237EA0-D3CD-463B-AF93-422ED0564AE1}"/>
              </a:ext>
            </a:extLst>
          </p:cNvPr>
          <p:cNvSpPr/>
          <p:nvPr/>
        </p:nvSpPr>
        <p:spPr>
          <a:xfrm>
            <a:off x="381504" y="2571016"/>
            <a:ext cx="4802114" cy="127756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0" dirty="0">
                <a:solidFill>
                  <a:schemeClr val="bg1"/>
                </a:solidFill>
                <a:effectLst/>
                <a:latin typeface="Segoe UI" panose="020B0502040204020203" pitchFamily="34" charset="0"/>
              </a:rPr>
              <a:t>Reusable Flows</a:t>
            </a:r>
            <a:r>
              <a:rPr lang="en-US" b="0" i="0" dirty="0">
                <a:solidFill>
                  <a:schemeClr val="bg1"/>
                </a:solidFill>
                <a:effectLst/>
                <a:latin typeface="Segoe UI" panose="020B0502040204020203" pitchFamily="34" charset="0"/>
              </a:rPr>
              <a:t> </a:t>
            </a:r>
            <a:endParaRPr lang="en-US" dirty="0">
              <a:solidFill>
                <a:schemeClr val="bg1"/>
              </a:solidFill>
            </a:endParaRPr>
          </a:p>
          <a:p>
            <a:pPr algn="ctr"/>
            <a:endParaRPr lang="en-US" dirty="0"/>
          </a:p>
        </p:txBody>
      </p:sp>
      <p:sp>
        <p:nvSpPr>
          <p:cNvPr id="7" name="Rectangle: Rounded Corners 6">
            <a:extLst>
              <a:ext uri="{FF2B5EF4-FFF2-40B4-BE49-F238E27FC236}">
                <a16:creationId xmlns:a16="http://schemas.microsoft.com/office/drawing/2014/main" id="{55358A3E-168A-4D32-9B87-777EA81C1DA1}"/>
              </a:ext>
            </a:extLst>
          </p:cNvPr>
          <p:cNvSpPr/>
          <p:nvPr/>
        </p:nvSpPr>
        <p:spPr>
          <a:xfrm>
            <a:off x="381504" y="4371564"/>
            <a:ext cx="4802114" cy="1344950"/>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0" dirty="0">
                <a:solidFill>
                  <a:schemeClr val="bg1"/>
                </a:solidFill>
                <a:effectLst/>
                <a:latin typeface="Segoe UI" panose="020B0502040204020203" pitchFamily="34" charset="0"/>
              </a:rPr>
              <a:t>Workflow history storage </a:t>
            </a:r>
            <a:endParaRPr lang="en-US" dirty="0">
              <a:solidFill>
                <a:schemeClr val="bg1"/>
              </a:solidFill>
            </a:endParaRPr>
          </a:p>
        </p:txBody>
      </p:sp>
      <p:sp>
        <p:nvSpPr>
          <p:cNvPr id="14" name="Arrow: Down 13">
            <a:extLst>
              <a:ext uri="{FF2B5EF4-FFF2-40B4-BE49-F238E27FC236}">
                <a16:creationId xmlns:a16="http://schemas.microsoft.com/office/drawing/2014/main" id="{FFA8EB50-0281-4AF4-92DC-BFA4D59CD850}"/>
              </a:ext>
            </a:extLst>
          </p:cNvPr>
          <p:cNvSpPr/>
          <p:nvPr/>
        </p:nvSpPr>
        <p:spPr>
          <a:xfrm>
            <a:off x="2370776" y="2207982"/>
            <a:ext cx="429950" cy="24454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18E06AEA-5C11-47FB-B7B8-690C8C2AB15F}"/>
              </a:ext>
            </a:extLst>
          </p:cNvPr>
          <p:cNvSpPr/>
          <p:nvPr/>
        </p:nvSpPr>
        <p:spPr>
          <a:xfrm>
            <a:off x="6096000" y="1159435"/>
            <a:ext cx="4802114" cy="92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Workaround</a:t>
            </a:r>
          </a:p>
        </p:txBody>
      </p:sp>
      <p:sp>
        <p:nvSpPr>
          <p:cNvPr id="18" name="Arrow: Down 17">
            <a:extLst>
              <a:ext uri="{FF2B5EF4-FFF2-40B4-BE49-F238E27FC236}">
                <a16:creationId xmlns:a16="http://schemas.microsoft.com/office/drawing/2014/main" id="{589789D8-F5BC-47ED-B5A2-39D292589F01}"/>
              </a:ext>
            </a:extLst>
          </p:cNvPr>
          <p:cNvSpPr/>
          <p:nvPr/>
        </p:nvSpPr>
        <p:spPr>
          <a:xfrm>
            <a:off x="8418333" y="2194004"/>
            <a:ext cx="429950" cy="25852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Rounded Corners 19">
            <a:extLst>
              <a:ext uri="{FF2B5EF4-FFF2-40B4-BE49-F238E27FC236}">
                <a16:creationId xmlns:a16="http://schemas.microsoft.com/office/drawing/2014/main" id="{F7B33115-E882-4086-9047-8A237E9825CB}"/>
              </a:ext>
            </a:extLst>
          </p:cNvPr>
          <p:cNvSpPr/>
          <p:nvPr/>
        </p:nvSpPr>
        <p:spPr>
          <a:xfrm>
            <a:off x="6096000" y="2582047"/>
            <a:ext cx="4802114" cy="1277564"/>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you can create a master flow which a flow per list or library can call to do the heavy lifting</a:t>
            </a:r>
            <a:endParaRPr lang="en-US" dirty="0"/>
          </a:p>
        </p:txBody>
      </p:sp>
      <p:sp>
        <p:nvSpPr>
          <p:cNvPr id="22" name="Rectangle: Rounded Corners 21">
            <a:extLst>
              <a:ext uri="{FF2B5EF4-FFF2-40B4-BE49-F238E27FC236}">
                <a16:creationId xmlns:a16="http://schemas.microsoft.com/office/drawing/2014/main" id="{DDCC9D30-ECC0-4130-8ED5-44EE7B60A093}"/>
              </a:ext>
            </a:extLst>
          </p:cNvPr>
          <p:cNvSpPr/>
          <p:nvPr/>
        </p:nvSpPr>
        <p:spPr>
          <a:xfrm>
            <a:off x="6163119" y="4371564"/>
            <a:ext cx="4802114" cy="1344950"/>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Flows maintain a history in the context of the flow itself in the Power Automate dashboard. If you need tracking in your sites, you can have the flow log information in a list you create.</a:t>
            </a:r>
          </a:p>
        </p:txBody>
      </p:sp>
      <p:sp>
        <p:nvSpPr>
          <p:cNvPr id="3" name="Arrow: Right 2">
            <a:extLst>
              <a:ext uri="{FF2B5EF4-FFF2-40B4-BE49-F238E27FC236}">
                <a16:creationId xmlns:a16="http://schemas.microsoft.com/office/drawing/2014/main" id="{8DF49AE6-6071-4EC7-9975-27364C7D1C50}"/>
              </a:ext>
            </a:extLst>
          </p:cNvPr>
          <p:cNvSpPr/>
          <p:nvPr/>
        </p:nvSpPr>
        <p:spPr>
          <a:xfrm>
            <a:off x="5353176" y="3064148"/>
            <a:ext cx="641897" cy="3648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Arrow: Right 5">
            <a:extLst>
              <a:ext uri="{FF2B5EF4-FFF2-40B4-BE49-F238E27FC236}">
                <a16:creationId xmlns:a16="http://schemas.microsoft.com/office/drawing/2014/main" id="{E3833D62-7736-47A8-B428-D56598AED7ED}"/>
              </a:ext>
            </a:extLst>
          </p:cNvPr>
          <p:cNvSpPr/>
          <p:nvPr/>
        </p:nvSpPr>
        <p:spPr>
          <a:xfrm>
            <a:off x="5386986" y="4861613"/>
            <a:ext cx="641897" cy="3648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573394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44622" y="2535350"/>
            <a:ext cx="9859116" cy="1162178"/>
          </a:xfrm>
        </p:spPr>
        <p:txBody>
          <a:bodyPr/>
          <a:lstStyle/>
          <a:p>
            <a:r>
              <a:rPr lang="en-US" dirty="0">
                <a:solidFill>
                  <a:schemeClr val="bg1"/>
                </a:solidFill>
              </a:rPr>
              <a:t>Appendix</a:t>
            </a:r>
            <a:endParaRPr lang="nb-NO" sz="3200" dirty="0">
              <a:solidFill>
                <a:schemeClr val="bg1"/>
              </a:solidFill>
            </a:endParaRPr>
          </a:p>
        </p:txBody>
      </p:sp>
    </p:spTree>
    <p:extLst>
      <p:ext uri="{BB962C8B-B14F-4D97-AF65-F5344CB8AC3E}">
        <p14:creationId xmlns:p14="http://schemas.microsoft.com/office/powerpoint/2010/main" val="31327228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02A214-52E3-46CF-8154-70BFA49D6124}"/>
              </a:ext>
            </a:extLst>
          </p:cNvPr>
          <p:cNvSpPr>
            <a:spLocks noGrp="1"/>
          </p:cNvSpPr>
          <p:nvPr>
            <p:ph type="title"/>
          </p:nvPr>
        </p:nvSpPr>
        <p:spPr/>
        <p:txBody>
          <a:bodyPr/>
          <a:lstStyle/>
          <a:p>
            <a:r>
              <a:rPr lang="en-US" dirty="0"/>
              <a:t>Power Automate Plans</a:t>
            </a:r>
          </a:p>
        </p:txBody>
      </p:sp>
      <p:sp>
        <p:nvSpPr>
          <p:cNvPr id="26" name="Rectangle 25">
            <a:extLst>
              <a:ext uri="{FF2B5EF4-FFF2-40B4-BE49-F238E27FC236}">
                <a16:creationId xmlns:a16="http://schemas.microsoft.com/office/drawing/2014/main" id="{27015C7B-51D4-435A-86CD-7D6D8C5E5B01}"/>
              </a:ext>
            </a:extLst>
          </p:cNvPr>
          <p:cNvSpPr/>
          <p:nvPr/>
        </p:nvSpPr>
        <p:spPr bwMode="auto">
          <a:xfrm>
            <a:off x="4337867" y="1600318"/>
            <a:ext cx="3530807" cy="3876456"/>
          </a:xfrm>
          <a:prstGeom prst="rect">
            <a:avLst/>
          </a:prstGeom>
          <a:noFill/>
          <a:ln w="6350"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407D8D8E-8A37-4FBA-98B9-7B03E1B26C0B}"/>
              </a:ext>
            </a:extLst>
          </p:cNvPr>
          <p:cNvSpPr/>
          <p:nvPr/>
        </p:nvSpPr>
        <p:spPr bwMode="auto">
          <a:xfrm>
            <a:off x="8078581" y="1600318"/>
            <a:ext cx="3530807" cy="3876456"/>
          </a:xfrm>
          <a:prstGeom prst="rect">
            <a:avLst/>
          </a:prstGeom>
          <a:noFill/>
          <a:ln w="6350"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B081F912-89B7-4AA2-886F-5E7821E6C242}"/>
              </a:ext>
            </a:extLst>
          </p:cNvPr>
          <p:cNvSpPr/>
          <p:nvPr/>
        </p:nvSpPr>
        <p:spPr bwMode="auto">
          <a:xfrm>
            <a:off x="582612" y="1600318"/>
            <a:ext cx="3530807" cy="3876456"/>
          </a:xfrm>
          <a:prstGeom prst="rect">
            <a:avLst/>
          </a:prstGeom>
          <a:noFill/>
          <a:ln w="6350" cap="flat" cmpd="sng" algn="ctr">
            <a:solidFill>
              <a:srgbClr val="FFFFFF">
                <a:lumMod val="85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5C19F13C-678A-45B6-88B9-8CC38AF86EC7}"/>
              </a:ext>
            </a:extLst>
          </p:cNvPr>
          <p:cNvSpPr/>
          <p:nvPr/>
        </p:nvSpPr>
        <p:spPr>
          <a:xfrm>
            <a:off x="593135" y="2507703"/>
            <a:ext cx="3530807" cy="667875"/>
          </a:xfrm>
          <a:prstGeom prst="rect">
            <a:avLst/>
          </a:prstGeom>
        </p:spPr>
        <p:txBody>
          <a:bodyPr wrap="square" lIns="91440" anchor="ctr">
            <a:noAutofit/>
          </a:bodyPr>
          <a:lstStyle/>
          <a:p>
            <a:pPr defTabSz="914192">
              <a:spcAft>
                <a:spcPts val="400"/>
              </a:spcAft>
              <a:defRPr/>
            </a:pPr>
            <a:r>
              <a:rPr lang="en-US" sz="1600" dirty="0">
                <a:solidFill>
                  <a:srgbClr val="000000"/>
                </a:solidFill>
                <a:cs typeface="Segoe UI" panose="020B0502040204020203" pitchFamily="34" charset="0"/>
              </a:rPr>
              <a:t>Licensed by </a:t>
            </a:r>
            <a:r>
              <a:rPr lang="en-US" sz="1600" dirty="0">
                <a:solidFill>
                  <a:srgbClr val="000000"/>
                </a:solidFill>
                <a:latin typeface="Segoe UI Semibold"/>
                <a:cs typeface="Segoe UI" panose="020B0502040204020203" pitchFamily="34" charset="0"/>
              </a:rPr>
              <a:t>user</a:t>
            </a:r>
          </a:p>
          <a:p>
            <a:pPr defTabSz="914192">
              <a:spcAft>
                <a:spcPts val="400"/>
              </a:spcAft>
              <a:defRPr/>
            </a:pPr>
            <a:r>
              <a:rPr lang="en-US" sz="1600" dirty="0">
                <a:solidFill>
                  <a:srgbClr val="000000"/>
                </a:solidFill>
                <a:cs typeface="Segoe UI" panose="020B0502040204020203" pitchFamily="34" charset="0"/>
              </a:rPr>
              <a:t>$15 user/month</a:t>
            </a:r>
          </a:p>
        </p:txBody>
      </p:sp>
      <p:sp>
        <p:nvSpPr>
          <p:cNvPr id="30" name="Rectangle 29">
            <a:extLst>
              <a:ext uri="{FF2B5EF4-FFF2-40B4-BE49-F238E27FC236}">
                <a16:creationId xmlns:a16="http://schemas.microsoft.com/office/drawing/2014/main" id="{9027B935-BDE8-4DE4-B197-D4E37A47B2DF}"/>
              </a:ext>
            </a:extLst>
          </p:cNvPr>
          <p:cNvSpPr/>
          <p:nvPr/>
        </p:nvSpPr>
        <p:spPr>
          <a:xfrm>
            <a:off x="4337867" y="2507703"/>
            <a:ext cx="3530807" cy="667781"/>
          </a:xfrm>
          <a:prstGeom prst="rect">
            <a:avLst/>
          </a:prstGeom>
        </p:spPr>
        <p:txBody>
          <a:bodyPr wrap="square" lIns="91440" anchor="ctr">
            <a:noAutofit/>
          </a:bodyPr>
          <a:lstStyle/>
          <a:p>
            <a:pPr defTabSz="914192">
              <a:spcAft>
                <a:spcPts val="400"/>
              </a:spcAft>
              <a:defRPr/>
            </a:pPr>
            <a:r>
              <a:rPr lang="en-US" sz="1600" dirty="0">
                <a:solidFill>
                  <a:srgbClr val="000000"/>
                </a:solidFill>
                <a:cs typeface="Segoe UI" panose="020B0502040204020203" pitchFamily="34" charset="0"/>
              </a:rPr>
              <a:t>Licensed by </a:t>
            </a:r>
            <a:r>
              <a:rPr lang="en-US" sz="1600" dirty="0">
                <a:solidFill>
                  <a:srgbClr val="000000"/>
                </a:solidFill>
                <a:latin typeface="Segoe UI Semibold"/>
                <a:cs typeface="Segoe UI" panose="020B0502040204020203" pitchFamily="34" charset="0"/>
              </a:rPr>
              <a:t>workflow</a:t>
            </a:r>
          </a:p>
          <a:p>
            <a:pPr defTabSz="914192">
              <a:spcAft>
                <a:spcPts val="400"/>
              </a:spcAft>
              <a:defRPr/>
            </a:pPr>
            <a:r>
              <a:rPr lang="en-US" sz="1600" dirty="0">
                <a:solidFill>
                  <a:srgbClr val="000000"/>
                </a:solidFill>
                <a:cs typeface="Segoe UI" panose="020B0502040204020203" pitchFamily="34" charset="0"/>
              </a:rPr>
              <a:t>$100 per flow/month</a:t>
            </a:r>
          </a:p>
          <a:p>
            <a:pPr defTabSz="914192">
              <a:spcAft>
                <a:spcPts val="400"/>
              </a:spcAft>
              <a:defRPr/>
            </a:pPr>
            <a:r>
              <a:rPr lang="en-US" sz="1600" dirty="0">
                <a:solidFill>
                  <a:srgbClr val="000000"/>
                </a:solidFill>
                <a:cs typeface="Segoe UI" panose="020B0502040204020203" pitchFamily="34" charset="0"/>
              </a:rPr>
              <a:t>Min purchase of 5 flows</a:t>
            </a:r>
          </a:p>
        </p:txBody>
      </p:sp>
      <p:sp>
        <p:nvSpPr>
          <p:cNvPr id="31" name="Rectangle 30">
            <a:extLst>
              <a:ext uri="{FF2B5EF4-FFF2-40B4-BE49-F238E27FC236}">
                <a16:creationId xmlns:a16="http://schemas.microsoft.com/office/drawing/2014/main" id="{F9FC9576-E970-4414-B0F9-A7632693FA9D}"/>
              </a:ext>
            </a:extLst>
          </p:cNvPr>
          <p:cNvSpPr/>
          <p:nvPr/>
        </p:nvSpPr>
        <p:spPr>
          <a:xfrm>
            <a:off x="8078581" y="2507703"/>
            <a:ext cx="3530807" cy="590847"/>
          </a:xfrm>
          <a:prstGeom prst="rect">
            <a:avLst/>
          </a:prstGeom>
        </p:spPr>
        <p:txBody>
          <a:bodyPr wrap="square" lIns="91440" anchor="t">
            <a:noAutofit/>
          </a:bodyPr>
          <a:lstStyle/>
          <a:p>
            <a:pPr defTabSz="914192">
              <a:spcAft>
                <a:spcPts val="400"/>
              </a:spcAft>
              <a:defRPr/>
            </a:pPr>
            <a:r>
              <a:rPr lang="en-US" sz="1600" dirty="0">
                <a:solidFill>
                  <a:srgbClr val="000000"/>
                </a:solidFill>
                <a:cs typeface="Segoe UI" panose="020B0502040204020203" pitchFamily="34" charset="0"/>
              </a:rPr>
              <a:t>Licensed through Office 365, Dynamics 365 &amp; Power Apps</a:t>
            </a:r>
          </a:p>
        </p:txBody>
      </p:sp>
      <p:cxnSp>
        <p:nvCxnSpPr>
          <p:cNvPr id="32" name="Straight Connector 31">
            <a:extLst>
              <a:ext uri="{FF2B5EF4-FFF2-40B4-BE49-F238E27FC236}">
                <a16:creationId xmlns:a16="http://schemas.microsoft.com/office/drawing/2014/main" id="{2FD5C377-B9A4-4402-9632-0D9E18B49210}"/>
              </a:ext>
            </a:extLst>
          </p:cNvPr>
          <p:cNvCxnSpPr>
            <a:cxnSpLocks/>
          </p:cNvCxnSpPr>
          <p:nvPr/>
        </p:nvCxnSpPr>
        <p:spPr>
          <a:xfrm>
            <a:off x="582612" y="3382844"/>
            <a:ext cx="3530807" cy="0"/>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33" name="Straight Connector 32">
            <a:extLst>
              <a:ext uri="{FF2B5EF4-FFF2-40B4-BE49-F238E27FC236}">
                <a16:creationId xmlns:a16="http://schemas.microsoft.com/office/drawing/2014/main" id="{90618C0E-91BC-48B8-8AE9-E5E39071B853}"/>
              </a:ext>
            </a:extLst>
          </p:cNvPr>
          <p:cNvCxnSpPr>
            <a:cxnSpLocks/>
          </p:cNvCxnSpPr>
          <p:nvPr/>
        </p:nvCxnSpPr>
        <p:spPr>
          <a:xfrm>
            <a:off x="4337867" y="3382844"/>
            <a:ext cx="3530807" cy="0"/>
          </a:xfrm>
          <a:prstGeom prst="line">
            <a:avLst/>
          </a:prstGeom>
          <a:noFill/>
          <a:ln w="6350" cap="flat" cmpd="sng" algn="ctr">
            <a:solidFill>
              <a:srgbClr val="FFFFFF">
                <a:lumMod val="75000"/>
              </a:srgbClr>
            </a:solidFill>
            <a:prstDash val="dash"/>
            <a:headEnd type="none" w="lg" len="med"/>
            <a:tailEnd type="none" w="lg" len="med"/>
          </a:ln>
          <a:effectLst/>
        </p:spPr>
      </p:cxnSp>
      <p:cxnSp>
        <p:nvCxnSpPr>
          <p:cNvPr id="34" name="Straight Connector 33">
            <a:extLst>
              <a:ext uri="{FF2B5EF4-FFF2-40B4-BE49-F238E27FC236}">
                <a16:creationId xmlns:a16="http://schemas.microsoft.com/office/drawing/2014/main" id="{96DA4D80-06AF-4EBC-AA59-76751600E862}"/>
              </a:ext>
            </a:extLst>
          </p:cNvPr>
          <p:cNvCxnSpPr>
            <a:cxnSpLocks/>
          </p:cNvCxnSpPr>
          <p:nvPr/>
        </p:nvCxnSpPr>
        <p:spPr>
          <a:xfrm>
            <a:off x="8078581" y="3382844"/>
            <a:ext cx="3530807" cy="0"/>
          </a:xfrm>
          <a:prstGeom prst="line">
            <a:avLst/>
          </a:prstGeom>
          <a:noFill/>
          <a:ln w="6350" cap="flat" cmpd="sng" algn="ctr">
            <a:solidFill>
              <a:srgbClr val="FFFFFF">
                <a:lumMod val="75000"/>
              </a:srgbClr>
            </a:solidFill>
            <a:prstDash val="dash"/>
            <a:headEnd type="none" w="lg" len="med"/>
            <a:tailEnd type="none" w="lg" len="med"/>
          </a:ln>
          <a:effectLst/>
        </p:spPr>
      </p:cxnSp>
      <p:sp>
        <p:nvSpPr>
          <p:cNvPr id="35" name="Rectangle 34">
            <a:extLst>
              <a:ext uri="{FF2B5EF4-FFF2-40B4-BE49-F238E27FC236}">
                <a16:creationId xmlns:a16="http://schemas.microsoft.com/office/drawing/2014/main" id="{0E5C731F-266E-488D-BB45-C1BAF4790625}"/>
              </a:ext>
            </a:extLst>
          </p:cNvPr>
          <p:cNvSpPr/>
          <p:nvPr/>
        </p:nvSpPr>
        <p:spPr>
          <a:xfrm>
            <a:off x="593135" y="3590111"/>
            <a:ext cx="3530807" cy="1086451"/>
          </a:xfrm>
          <a:prstGeom prst="rect">
            <a:avLst/>
          </a:prstGeom>
        </p:spPr>
        <p:txBody>
          <a:bodyPr wrap="square" lIns="91440" tIns="0" bIns="0" anchor="t">
            <a:noAutofit/>
          </a:bodyPr>
          <a:lstStyle/>
          <a:p>
            <a:pPr marL="0" lvl="1" defTabSz="914192">
              <a:spcAft>
                <a:spcPts val="400"/>
              </a:spcAft>
              <a:defRPr/>
            </a:pPr>
            <a:r>
              <a:rPr lang="en-US" sz="1600" dirty="0">
                <a:solidFill>
                  <a:srgbClr val="000000"/>
                </a:solidFill>
                <a:cs typeface="Segoe UI" panose="020B0502040204020203" pitchFamily="34" charset="0"/>
              </a:rPr>
              <a:t>Equip individual users to create </a:t>
            </a:r>
            <a:r>
              <a:rPr lang="en-US" sz="1600" dirty="0">
                <a:solidFill>
                  <a:srgbClr val="000000"/>
                </a:solidFill>
                <a:latin typeface="Segoe UI Semibold"/>
                <a:cs typeface="Segoe UI" panose="020B0502040204020203" pitchFamily="34" charset="0"/>
              </a:rPr>
              <a:t>unlimited workflows</a:t>
            </a:r>
            <a:r>
              <a:rPr lang="en-US" sz="1600" dirty="0">
                <a:solidFill>
                  <a:srgbClr val="000000"/>
                </a:solidFill>
                <a:cs typeface="Segoe UI" panose="020B0502040204020203" pitchFamily="34" charset="0"/>
              </a:rPr>
              <a:t> and business processes based on their unique needs</a:t>
            </a:r>
          </a:p>
        </p:txBody>
      </p:sp>
      <p:sp>
        <p:nvSpPr>
          <p:cNvPr id="36" name="Rectangle 35">
            <a:extLst>
              <a:ext uri="{FF2B5EF4-FFF2-40B4-BE49-F238E27FC236}">
                <a16:creationId xmlns:a16="http://schemas.microsoft.com/office/drawing/2014/main" id="{2C378AAA-516D-4323-A86C-E91F7E8F0804}"/>
              </a:ext>
            </a:extLst>
          </p:cNvPr>
          <p:cNvSpPr/>
          <p:nvPr/>
        </p:nvSpPr>
        <p:spPr>
          <a:xfrm>
            <a:off x="4337867" y="3590111"/>
            <a:ext cx="3530807" cy="1086451"/>
          </a:xfrm>
          <a:prstGeom prst="rect">
            <a:avLst/>
          </a:prstGeom>
        </p:spPr>
        <p:txBody>
          <a:bodyPr wrap="square" lIns="91440" tIns="0" bIns="0" anchor="t">
            <a:noAutofit/>
          </a:bodyPr>
          <a:lstStyle/>
          <a:p>
            <a:pPr marL="0" lvl="1" defTabSz="914192">
              <a:spcAft>
                <a:spcPts val="400"/>
              </a:spcAft>
              <a:defRPr/>
            </a:pPr>
            <a:r>
              <a:rPr lang="en-US" sz="1600" dirty="0">
                <a:solidFill>
                  <a:srgbClr val="000000"/>
                </a:solidFill>
                <a:cs typeface="Segoe UI" panose="020B0502040204020203" pitchFamily="34" charset="0"/>
              </a:rPr>
              <a:t>Implement critical business processes with capacity that serves teams, departments or the entire organization </a:t>
            </a:r>
            <a:r>
              <a:rPr lang="en-US" sz="1600" dirty="0">
                <a:solidFill>
                  <a:srgbClr val="000000"/>
                </a:solidFill>
                <a:latin typeface="Segoe UI Semibold"/>
                <a:cs typeface="Segoe UI" panose="020B0502040204020203" pitchFamily="34" charset="0"/>
              </a:rPr>
              <a:t>w/o individually licensing end users</a:t>
            </a:r>
          </a:p>
        </p:txBody>
      </p:sp>
      <p:sp>
        <p:nvSpPr>
          <p:cNvPr id="37" name="Rectangle 36">
            <a:extLst>
              <a:ext uri="{FF2B5EF4-FFF2-40B4-BE49-F238E27FC236}">
                <a16:creationId xmlns:a16="http://schemas.microsoft.com/office/drawing/2014/main" id="{772406A2-1A39-4DFE-BD36-D04E7B26CBDD}"/>
              </a:ext>
            </a:extLst>
          </p:cNvPr>
          <p:cNvSpPr/>
          <p:nvPr/>
        </p:nvSpPr>
        <p:spPr>
          <a:xfrm>
            <a:off x="8078581" y="3590111"/>
            <a:ext cx="3530807" cy="1086451"/>
          </a:xfrm>
          <a:prstGeom prst="rect">
            <a:avLst/>
          </a:prstGeom>
        </p:spPr>
        <p:txBody>
          <a:bodyPr wrap="square" lIns="91440" tIns="0" bIns="0" anchor="t">
            <a:noAutofit/>
          </a:bodyPr>
          <a:lstStyle/>
          <a:p>
            <a:pPr defTabSz="914192">
              <a:spcAft>
                <a:spcPts val="400"/>
              </a:spcAft>
              <a:defRPr/>
            </a:pPr>
            <a:r>
              <a:rPr lang="en-US" sz="1600" dirty="0">
                <a:solidFill>
                  <a:srgbClr val="000000"/>
                </a:solidFill>
                <a:cs typeface="Segoe UI" panose="020B0502040204020203" pitchFamily="34" charset="0"/>
              </a:rPr>
              <a:t>Automate business processes and workflows for Office 365, Dynamics 365 &amp; Power Apps</a:t>
            </a:r>
          </a:p>
        </p:txBody>
      </p:sp>
      <p:sp>
        <p:nvSpPr>
          <p:cNvPr id="38" name="Rectangle 37">
            <a:extLst>
              <a:ext uri="{FF2B5EF4-FFF2-40B4-BE49-F238E27FC236}">
                <a16:creationId xmlns:a16="http://schemas.microsoft.com/office/drawing/2014/main" id="{C27E5AEE-940E-4853-8DA3-51CC7957BB2F}"/>
              </a:ext>
            </a:extLst>
          </p:cNvPr>
          <p:cNvSpPr/>
          <p:nvPr/>
        </p:nvSpPr>
        <p:spPr>
          <a:xfrm>
            <a:off x="582612" y="1600317"/>
            <a:ext cx="3530807" cy="700120"/>
          </a:xfrm>
          <a:prstGeom prst="rect">
            <a:avLst/>
          </a:prstGeom>
          <a:solidFill>
            <a:srgbClr val="0070C0"/>
          </a:solidFill>
          <a:ln w="6350">
            <a:solidFill>
              <a:srgbClr val="243A5E"/>
            </a:solidFill>
          </a:ln>
        </p:spPr>
        <p:txBody>
          <a:bodyPr wrap="square" lIns="91440">
            <a:noAutofit/>
          </a:bodyPr>
          <a:lstStyle/>
          <a:p>
            <a:pPr marL="0" marR="0" lvl="1" indent="0" defTabSz="91404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rPr>
              <a:t>Power Automate</a:t>
            </a:r>
            <a:br>
              <a:rPr kumimoji="0"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rPr>
            </a:br>
            <a:r>
              <a:rPr kumimoji="0"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rPr>
              <a:t>per user</a:t>
            </a:r>
          </a:p>
        </p:txBody>
      </p:sp>
      <p:sp>
        <p:nvSpPr>
          <p:cNvPr id="39" name="Rectangle 38">
            <a:extLst>
              <a:ext uri="{FF2B5EF4-FFF2-40B4-BE49-F238E27FC236}">
                <a16:creationId xmlns:a16="http://schemas.microsoft.com/office/drawing/2014/main" id="{2752B587-5FCE-4AE8-8374-3680E14D9A0F}"/>
              </a:ext>
            </a:extLst>
          </p:cNvPr>
          <p:cNvSpPr/>
          <p:nvPr/>
        </p:nvSpPr>
        <p:spPr>
          <a:xfrm>
            <a:off x="4337867" y="1600317"/>
            <a:ext cx="3530807" cy="700120"/>
          </a:xfrm>
          <a:prstGeom prst="rect">
            <a:avLst/>
          </a:prstGeom>
          <a:solidFill>
            <a:srgbClr val="0070C0"/>
          </a:solidFill>
          <a:ln w="6350">
            <a:solidFill>
              <a:srgbClr val="243A5E"/>
            </a:solidFill>
          </a:ln>
        </p:spPr>
        <p:txBody>
          <a:bodyPr wrap="square" lIns="91440">
            <a:noAutofit/>
          </a:bodyPr>
          <a:lstStyle/>
          <a:p>
            <a:pPr marL="0" lvl="1" defTabSz="914049">
              <a:defRPr/>
            </a:pPr>
            <a:r>
              <a:rPr lang="en-US" kern="0" dirty="0">
                <a:solidFill>
                  <a:srgbClr val="FFFFFF"/>
                </a:solidFill>
                <a:latin typeface="Segoe UI Semibold"/>
                <a:cs typeface="Segoe UI Semibold" panose="020B0702040204020203" pitchFamily="34" charset="0"/>
              </a:rPr>
              <a:t>Power Automate</a:t>
            </a:r>
            <a:r>
              <a:rPr kumimoji="0"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rPr>
              <a:t> per</a:t>
            </a:r>
          </a:p>
          <a:p>
            <a:pPr marL="0" marR="0" lvl="1" indent="0" defTabSz="91404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rPr>
              <a:t>business process</a:t>
            </a:r>
          </a:p>
        </p:txBody>
      </p:sp>
      <p:sp>
        <p:nvSpPr>
          <p:cNvPr id="40" name="Rectangle 39">
            <a:extLst>
              <a:ext uri="{FF2B5EF4-FFF2-40B4-BE49-F238E27FC236}">
                <a16:creationId xmlns:a16="http://schemas.microsoft.com/office/drawing/2014/main" id="{3F011A2F-C6A6-42B7-A6F4-C3D70B4F50F0}"/>
              </a:ext>
            </a:extLst>
          </p:cNvPr>
          <p:cNvSpPr/>
          <p:nvPr/>
        </p:nvSpPr>
        <p:spPr>
          <a:xfrm>
            <a:off x="8078581" y="1600317"/>
            <a:ext cx="3530807" cy="700120"/>
          </a:xfrm>
          <a:prstGeom prst="rect">
            <a:avLst/>
          </a:prstGeom>
          <a:solidFill>
            <a:srgbClr val="0070C0"/>
          </a:solidFill>
          <a:ln w="6350">
            <a:solidFill>
              <a:srgbClr val="243A5E"/>
            </a:solidFill>
          </a:ln>
        </p:spPr>
        <p:txBody>
          <a:bodyPr wrap="square" lIns="91440" anchor="t">
            <a:noAutofit/>
          </a:bodyPr>
          <a:lstStyle/>
          <a:p>
            <a:pPr marL="0" lvl="1" defTabSz="914049">
              <a:defRPr/>
            </a:pPr>
            <a:r>
              <a:rPr kumimoji="0" lang="en-US" sz="1800" b="0" i="0" u="none" strike="noStrike" kern="0" cap="none" spc="0" normalizeH="0" baseline="0" noProof="0" dirty="0">
                <a:ln>
                  <a:noFill/>
                </a:ln>
                <a:solidFill>
                  <a:srgbClr val="FFFFFF"/>
                </a:solidFill>
                <a:effectLst/>
                <a:uLnTx/>
                <a:uFillTx/>
                <a:latin typeface="Segoe UI Semibold"/>
                <a:cs typeface="Segoe UI Semibold"/>
              </a:rPr>
              <a:t>Seeded</a:t>
            </a:r>
            <a:r>
              <a:rPr lang="en-US" kern="0" dirty="0">
                <a:solidFill>
                  <a:srgbClr val="FFFFFF"/>
                </a:solidFill>
                <a:latin typeface="Segoe UI Semibold"/>
                <a:cs typeface="Segoe UI Semibold"/>
              </a:rPr>
              <a:t> </a:t>
            </a:r>
            <a:endParaRPr kumimoji="0"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endParaRPr>
          </a:p>
          <a:p>
            <a:pPr marL="0" lvl="1" defTabSz="914049">
              <a:defRPr/>
            </a:pPr>
            <a:r>
              <a:rPr lang="en-US" kern="0" dirty="0">
                <a:solidFill>
                  <a:srgbClr val="FFFFFF"/>
                </a:solidFill>
                <a:latin typeface="Segoe UI Semibold"/>
                <a:cs typeface="Segoe UI Semibold"/>
              </a:rPr>
              <a:t>Power Automate</a:t>
            </a:r>
            <a:endParaRPr lang="en-US" sz="1800" b="0" i="0" u="none" strike="noStrike" kern="0" cap="none" spc="0" normalizeH="0" baseline="0" noProof="0" dirty="0">
              <a:ln>
                <a:noFill/>
              </a:ln>
              <a:solidFill>
                <a:srgbClr val="FFFFFF"/>
              </a:solidFill>
              <a:effectLst/>
              <a:uLnTx/>
              <a:uFillTx/>
              <a:latin typeface="Segoe UI Semibold"/>
              <a:cs typeface="Segoe UI Semibold" panose="020B0702040204020203" pitchFamily="34" charset="0"/>
            </a:endParaRPr>
          </a:p>
        </p:txBody>
      </p:sp>
      <p:grpSp>
        <p:nvGrpSpPr>
          <p:cNvPr id="41" name="Group 40">
            <a:extLst>
              <a:ext uri="{FF2B5EF4-FFF2-40B4-BE49-F238E27FC236}">
                <a16:creationId xmlns:a16="http://schemas.microsoft.com/office/drawing/2014/main" id="{ACD9AD50-3077-4A79-9B8E-6C94892DCACE}"/>
              </a:ext>
            </a:extLst>
          </p:cNvPr>
          <p:cNvGrpSpPr/>
          <p:nvPr/>
        </p:nvGrpSpPr>
        <p:grpSpPr>
          <a:xfrm>
            <a:off x="11099041" y="1754689"/>
            <a:ext cx="390691" cy="391376"/>
            <a:chOff x="4565921" y="3369898"/>
            <a:chExt cx="242888" cy="243314"/>
          </a:xfrm>
        </p:grpSpPr>
        <p:sp>
          <p:nvSpPr>
            <p:cNvPr id="42" name="Freeform: Shape 41">
              <a:extLst>
                <a:ext uri="{FF2B5EF4-FFF2-40B4-BE49-F238E27FC236}">
                  <a16:creationId xmlns:a16="http://schemas.microsoft.com/office/drawing/2014/main" id="{1D0C8E5F-3BE9-499C-8187-B40442F9FFDC}"/>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B2B413DA-1A1D-40F3-B69A-C9ABACB947CB}"/>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08C2A5E-3A52-48B9-864F-8E91883F407D}"/>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A2BC255F-5B9C-451B-B8C5-252DBA682257}"/>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6" name="transform_2" title="Icon of a circle and a square with a curved arrow between them">
            <a:extLst>
              <a:ext uri="{FF2B5EF4-FFF2-40B4-BE49-F238E27FC236}">
                <a16:creationId xmlns:a16="http://schemas.microsoft.com/office/drawing/2014/main" id="{FE7861FA-3470-42BC-9F68-7C83982A1543}"/>
              </a:ext>
            </a:extLst>
          </p:cNvPr>
          <p:cNvSpPr>
            <a:spLocks noChangeAspect="1" noEditPoints="1"/>
          </p:cNvSpPr>
          <p:nvPr/>
        </p:nvSpPr>
        <p:spPr bwMode="auto">
          <a:xfrm>
            <a:off x="7250502" y="1767497"/>
            <a:ext cx="394891" cy="36576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people_12" title="Icon of three people">
            <a:extLst>
              <a:ext uri="{FF2B5EF4-FFF2-40B4-BE49-F238E27FC236}">
                <a16:creationId xmlns:a16="http://schemas.microsoft.com/office/drawing/2014/main" id="{2AC85BD3-8A3D-438D-B68F-3B61E9464336}"/>
              </a:ext>
            </a:extLst>
          </p:cNvPr>
          <p:cNvSpPr>
            <a:spLocks noChangeAspect="1" noEditPoints="1"/>
          </p:cNvSpPr>
          <p:nvPr/>
        </p:nvSpPr>
        <p:spPr bwMode="auto">
          <a:xfrm>
            <a:off x="3530191" y="1767497"/>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2474B867-0243-4063-AD30-EAFB2B849ECA}"/>
              </a:ext>
            </a:extLst>
          </p:cNvPr>
          <p:cNvSpPr/>
          <p:nvPr/>
        </p:nvSpPr>
        <p:spPr>
          <a:xfrm>
            <a:off x="582612" y="5560264"/>
            <a:ext cx="10286936" cy="307777"/>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1400" b="0" i="0" u="none" strike="noStrike" kern="0" cap="none" spc="0" normalizeH="0" baseline="0" noProof="0" dirty="0">
                <a:ln>
                  <a:noFill/>
                </a:ln>
                <a:gradFill>
                  <a:gsLst>
                    <a:gs pos="1250">
                      <a:srgbClr val="353535"/>
                    </a:gs>
                    <a:gs pos="100000">
                      <a:srgbClr val="353535"/>
                    </a:gs>
                  </a:gsLst>
                  <a:lin ang="5400000" scaled="0"/>
                </a:gradFill>
                <a:effectLst/>
                <a:uLnTx/>
                <a:uFillTx/>
                <a:cs typeface="Segoe UI" panose="020B0502040204020203" pitchFamily="34" charset="0"/>
              </a:rPr>
              <a:t>For “Power Automate per business process plan”, “child” flows are not charged</a:t>
            </a:r>
          </a:p>
        </p:txBody>
      </p:sp>
    </p:spTree>
    <p:extLst>
      <p:ext uri="{BB962C8B-B14F-4D97-AF65-F5344CB8AC3E}">
        <p14:creationId xmlns:p14="http://schemas.microsoft.com/office/powerpoint/2010/main" val="9357473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056A6EFE-ACC7-4EC8-8C90-C8A07BC3EAEF}"/>
              </a:ext>
            </a:extLst>
          </p:cNvPr>
          <p:cNvSpPr/>
          <p:nvPr>
            <p:custDataLst>
              <p:tags r:id="rId1"/>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13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C64FA884-69BB-49DA-A62C-F773EE360737}"/>
              </a:ext>
            </a:extLst>
          </p:cNvPr>
          <p:cNvSpPr>
            <a:spLocks noGrp="1"/>
          </p:cNvSpPr>
          <p:nvPr>
            <p:ph type="title"/>
          </p:nvPr>
        </p:nvSpPr>
        <p:spPr/>
        <p:txBody>
          <a:bodyPr/>
          <a:lstStyle/>
          <a:p>
            <a:r>
              <a:rPr lang="en-US" sz="3137" dirty="0">
                <a:solidFill>
                  <a:srgbClr val="3C3C41">
                    <a:lumMod val="75000"/>
                  </a:srgbClr>
                </a:solidFill>
                <a:latin typeface="Segoe UI Semibold" panose="020B0702040204020203" pitchFamily="34" charset="0"/>
                <a:cs typeface="Segoe UI Semibold" panose="020B0702040204020203" pitchFamily="34" charset="0"/>
              </a:rPr>
              <a:t>Power Apps and Power Automate for Office 365</a:t>
            </a:r>
          </a:p>
        </p:txBody>
      </p:sp>
      <p:sp>
        <p:nvSpPr>
          <p:cNvPr id="9" name="Rectangle 8">
            <a:extLst>
              <a:ext uri="{FF2B5EF4-FFF2-40B4-BE49-F238E27FC236}">
                <a16:creationId xmlns:a16="http://schemas.microsoft.com/office/drawing/2014/main" id="{23FD09A8-67FF-4470-865A-C536A4519568}"/>
              </a:ext>
            </a:extLst>
          </p:cNvPr>
          <p:cNvSpPr>
            <a:spLocks noChangeArrowheads="1"/>
          </p:cNvSpPr>
          <p:nvPr/>
        </p:nvSpPr>
        <p:spPr bwMode="auto">
          <a:xfrm>
            <a:off x="589666" y="2800984"/>
            <a:ext cx="484862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895178" eaLnBrk="1" fontAlgn="base" hangingPunct="1">
              <a:spcBef>
                <a:spcPct val="0"/>
              </a:spcBef>
              <a:spcAft>
                <a:spcPct val="0"/>
              </a:spcAft>
              <a:defRPr/>
            </a:pPr>
            <a:r>
              <a:rPr lang="en-US" altLang="ko-KR" sz="2000" dirty="0">
                <a:solidFill>
                  <a:srgbClr val="243A5E"/>
                </a:solidFill>
                <a:latin typeface="Segoe UI Semibold" panose="020B0702040204020203" pitchFamily="34" charset="0"/>
                <a:ea typeface="Gulim" charset="-127"/>
                <a:cs typeface="Segoe UI Semibold" panose="020B0702040204020203" pitchFamily="34" charset="0"/>
              </a:rPr>
              <a:t>What’s changed in Oct-19</a:t>
            </a:r>
          </a:p>
        </p:txBody>
      </p:sp>
      <p:graphicFrame>
        <p:nvGraphicFramePr>
          <p:cNvPr id="10" name="Table 9">
            <a:extLst>
              <a:ext uri="{FF2B5EF4-FFF2-40B4-BE49-F238E27FC236}">
                <a16:creationId xmlns:a16="http://schemas.microsoft.com/office/drawing/2014/main" id="{3FB56123-4357-4FBD-AB29-3A09BBB574A3}"/>
              </a:ext>
            </a:extLst>
          </p:cNvPr>
          <p:cNvGraphicFramePr>
            <a:graphicFrameLocks noGrp="1"/>
          </p:cNvGraphicFramePr>
          <p:nvPr>
            <p:extLst>
              <p:ext uri="{D42A27DB-BD31-4B8C-83A1-F6EECF244321}">
                <p14:modId xmlns:p14="http://schemas.microsoft.com/office/powerpoint/2010/main" val="2685556407"/>
              </p:ext>
            </p:extLst>
          </p:nvPr>
        </p:nvGraphicFramePr>
        <p:xfrm>
          <a:off x="586740" y="3166636"/>
          <a:ext cx="11018521" cy="3101768"/>
        </p:xfrm>
        <a:graphic>
          <a:graphicData uri="http://schemas.openxmlformats.org/drawingml/2006/table">
            <a:tbl>
              <a:tblPr firstRow="1" bandRow="1">
                <a:effectLst/>
              </a:tblPr>
              <a:tblGrid>
                <a:gridCol w="1294939">
                  <a:extLst>
                    <a:ext uri="{9D8B030D-6E8A-4147-A177-3AD203B41FA5}">
                      <a16:colId xmlns:a16="http://schemas.microsoft.com/office/drawing/2014/main" val="315678444"/>
                    </a:ext>
                  </a:extLst>
                </a:gridCol>
                <a:gridCol w="2318846">
                  <a:extLst>
                    <a:ext uri="{9D8B030D-6E8A-4147-A177-3AD203B41FA5}">
                      <a16:colId xmlns:a16="http://schemas.microsoft.com/office/drawing/2014/main" val="3842608932"/>
                    </a:ext>
                  </a:extLst>
                </a:gridCol>
                <a:gridCol w="2828934">
                  <a:extLst>
                    <a:ext uri="{9D8B030D-6E8A-4147-A177-3AD203B41FA5}">
                      <a16:colId xmlns:a16="http://schemas.microsoft.com/office/drawing/2014/main" val="3141318485"/>
                    </a:ext>
                  </a:extLst>
                </a:gridCol>
                <a:gridCol w="4575802">
                  <a:extLst>
                    <a:ext uri="{9D8B030D-6E8A-4147-A177-3AD203B41FA5}">
                      <a16:colId xmlns:a16="http://schemas.microsoft.com/office/drawing/2014/main" val="3543906893"/>
                    </a:ext>
                  </a:extLst>
                </a:gridCol>
              </a:tblGrid>
              <a:tr h="0">
                <a:tc>
                  <a:txBody>
                    <a:bodyPr/>
                    <a:lstStyle>
                      <a:lvl1pPr marL="0" algn="l" defTabSz="914367" rtl="0" eaLnBrk="1" latinLnBrk="0" hangingPunct="1">
                        <a:defRPr sz="1765" b="1" kern="1200">
                          <a:solidFill>
                            <a:schemeClr val="bg1"/>
                          </a:solidFill>
                          <a:latin typeface="Segoe UI"/>
                        </a:defRPr>
                      </a:lvl1pPr>
                      <a:lvl2pPr marL="457183" algn="l" defTabSz="914367" rtl="0" eaLnBrk="1" latinLnBrk="0" hangingPunct="1">
                        <a:defRPr sz="1765" b="1" kern="1200">
                          <a:solidFill>
                            <a:schemeClr val="bg1"/>
                          </a:solidFill>
                          <a:latin typeface="Segoe UI"/>
                        </a:defRPr>
                      </a:lvl2pPr>
                      <a:lvl3pPr marL="914367" algn="l" defTabSz="914367" rtl="0" eaLnBrk="1" latinLnBrk="0" hangingPunct="1">
                        <a:defRPr sz="1765" b="1" kern="1200">
                          <a:solidFill>
                            <a:schemeClr val="bg1"/>
                          </a:solidFill>
                          <a:latin typeface="Segoe UI"/>
                        </a:defRPr>
                      </a:lvl3pPr>
                      <a:lvl4pPr marL="1371550" algn="l" defTabSz="914367" rtl="0" eaLnBrk="1" latinLnBrk="0" hangingPunct="1">
                        <a:defRPr sz="1765" b="1" kern="1200">
                          <a:solidFill>
                            <a:schemeClr val="bg1"/>
                          </a:solidFill>
                          <a:latin typeface="Segoe UI"/>
                        </a:defRPr>
                      </a:lvl4pPr>
                      <a:lvl5pPr marL="1828734" algn="l" defTabSz="914367" rtl="0" eaLnBrk="1" latinLnBrk="0" hangingPunct="1">
                        <a:defRPr sz="1765" b="1" kern="1200">
                          <a:solidFill>
                            <a:schemeClr val="bg1"/>
                          </a:solidFill>
                          <a:latin typeface="Segoe UI"/>
                        </a:defRPr>
                      </a:lvl5pPr>
                      <a:lvl6pPr marL="2285918" algn="l" defTabSz="914367" rtl="0" eaLnBrk="1" latinLnBrk="0" hangingPunct="1">
                        <a:defRPr sz="1765" b="1" kern="1200">
                          <a:solidFill>
                            <a:schemeClr val="bg1"/>
                          </a:solidFill>
                          <a:latin typeface="Segoe UI"/>
                        </a:defRPr>
                      </a:lvl6pPr>
                      <a:lvl7pPr marL="2743101" algn="l" defTabSz="914367" rtl="0" eaLnBrk="1" latinLnBrk="0" hangingPunct="1">
                        <a:defRPr sz="1765" b="1" kern="1200">
                          <a:solidFill>
                            <a:schemeClr val="bg1"/>
                          </a:solidFill>
                          <a:latin typeface="Segoe UI"/>
                        </a:defRPr>
                      </a:lvl7pPr>
                      <a:lvl8pPr marL="3200284" algn="l" defTabSz="914367" rtl="0" eaLnBrk="1" latinLnBrk="0" hangingPunct="1">
                        <a:defRPr sz="1765" b="1" kern="1200">
                          <a:solidFill>
                            <a:schemeClr val="bg1"/>
                          </a:solidFill>
                          <a:latin typeface="Segoe UI"/>
                        </a:defRPr>
                      </a:lvl8pPr>
                      <a:lvl9pPr marL="3657469" algn="l" defTabSz="914367" rtl="0" eaLnBrk="1" latinLnBrk="0" hangingPunct="1">
                        <a:defRPr sz="1765" b="1" kern="1200">
                          <a:solidFill>
                            <a:schemeClr val="bg1"/>
                          </a:solidFill>
                          <a:latin typeface="Segoe UI"/>
                        </a:defRPr>
                      </a:lvl9pPr>
                    </a:lstStyle>
                    <a:p>
                      <a:pPr algn="ctr"/>
                      <a:r>
                        <a:rPr lang="en-US" sz="1600" dirty="0">
                          <a:solidFill>
                            <a:schemeClr val="bg1"/>
                          </a:solidFill>
                          <a:latin typeface="+mj-lt"/>
                        </a:rPr>
                        <a:t>Area</a:t>
                      </a:r>
                    </a:p>
                  </a:txBody>
                  <a:tcPr marL="89642" marR="89642" marT="44821" marB="44821">
                    <a:lnL w="6350" cap="flat" cmpd="sng" algn="ctr">
                      <a:solidFill>
                        <a:srgbClr val="243A5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243A5E"/>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67" rtl="0" eaLnBrk="1" latinLnBrk="0" hangingPunct="1">
                        <a:defRPr sz="1765" b="1" kern="1200">
                          <a:solidFill>
                            <a:schemeClr val="bg1"/>
                          </a:solidFill>
                          <a:latin typeface="Segoe UI"/>
                        </a:defRPr>
                      </a:lvl1pPr>
                      <a:lvl2pPr marL="457183" algn="l" defTabSz="914367" rtl="0" eaLnBrk="1" latinLnBrk="0" hangingPunct="1">
                        <a:defRPr sz="1765" b="1" kern="1200">
                          <a:solidFill>
                            <a:schemeClr val="bg1"/>
                          </a:solidFill>
                          <a:latin typeface="Segoe UI"/>
                        </a:defRPr>
                      </a:lvl2pPr>
                      <a:lvl3pPr marL="914367" algn="l" defTabSz="914367" rtl="0" eaLnBrk="1" latinLnBrk="0" hangingPunct="1">
                        <a:defRPr sz="1765" b="1" kern="1200">
                          <a:solidFill>
                            <a:schemeClr val="bg1"/>
                          </a:solidFill>
                          <a:latin typeface="Segoe UI"/>
                        </a:defRPr>
                      </a:lvl3pPr>
                      <a:lvl4pPr marL="1371550" algn="l" defTabSz="914367" rtl="0" eaLnBrk="1" latinLnBrk="0" hangingPunct="1">
                        <a:defRPr sz="1765" b="1" kern="1200">
                          <a:solidFill>
                            <a:schemeClr val="bg1"/>
                          </a:solidFill>
                          <a:latin typeface="Segoe UI"/>
                        </a:defRPr>
                      </a:lvl4pPr>
                      <a:lvl5pPr marL="1828734" algn="l" defTabSz="914367" rtl="0" eaLnBrk="1" latinLnBrk="0" hangingPunct="1">
                        <a:defRPr sz="1765" b="1" kern="1200">
                          <a:solidFill>
                            <a:schemeClr val="bg1"/>
                          </a:solidFill>
                          <a:latin typeface="Segoe UI"/>
                        </a:defRPr>
                      </a:lvl5pPr>
                      <a:lvl6pPr marL="2285918" algn="l" defTabSz="914367" rtl="0" eaLnBrk="1" latinLnBrk="0" hangingPunct="1">
                        <a:defRPr sz="1765" b="1" kern="1200">
                          <a:solidFill>
                            <a:schemeClr val="bg1"/>
                          </a:solidFill>
                          <a:latin typeface="Segoe UI"/>
                        </a:defRPr>
                      </a:lvl6pPr>
                      <a:lvl7pPr marL="2743101" algn="l" defTabSz="914367" rtl="0" eaLnBrk="1" latinLnBrk="0" hangingPunct="1">
                        <a:defRPr sz="1765" b="1" kern="1200">
                          <a:solidFill>
                            <a:schemeClr val="bg1"/>
                          </a:solidFill>
                          <a:latin typeface="Segoe UI"/>
                        </a:defRPr>
                      </a:lvl7pPr>
                      <a:lvl8pPr marL="3200284" algn="l" defTabSz="914367" rtl="0" eaLnBrk="1" latinLnBrk="0" hangingPunct="1">
                        <a:defRPr sz="1765" b="1" kern="1200">
                          <a:solidFill>
                            <a:schemeClr val="bg1"/>
                          </a:solidFill>
                          <a:latin typeface="Segoe UI"/>
                        </a:defRPr>
                      </a:lvl8pPr>
                      <a:lvl9pPr marL="3657469" algn="l" defTabSz="914367" rtl="0" eaLnBrk="1" latinLnBrk="0" hangingPunct="1">
                        <a:defRPr sz="1765" b="1" kern="1200">
                          <a:solidFill>
                            <a:schemeClr val="bg1"/>
                          </a:solidFill>
                          <a:latin typeface="Segoe UI"/>
                        </a:defRPr>
                      </a:lvl9pPr>
                    </a:lstStyle>
                    <a:p>
                      <a:pPr algn="ctr"/>
                      <a:r>
                        <a:rPr lang="en-US" sz="1600" dirty="0">
                          <a:solidFill>
                            <a:schemeClr val="bg1"/>
                          </a:solidFill>
                          <a:latin typeface="+mj-lt"/>
                        </a:rPr>
                        <a:t>Pre Oct-19</a:t>
                      </a:r>
                    </a:p>
                  </a:txBody>
                  <a:tcPr marL="89642" marR="89642" marT="44821" marB="4482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243A5E"/>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67" rtl="0" eaLnBrk="1" latinLnBrk="0" hangingPunct="1">
                        <a:defRPr sz="1765" b="1" kern="1200">
                          <a:solidFill>
                            <a:schemeClr val="bg1"/>
                          </a:solidFill>
                          <a:latin typeface="Segoe UI"/>
                        </a:defRPr>
                      </a:lvl1pPr>
                      <a:lvl2pPr marL="457183" algn="l" defTabSz="914367" rtl="0" eaLnBrk="1" latinLnBrk="0" hangingPunct="1">
                        <a:defRPr sz="1765" b="1" kern="1200">
                          <a:solidFill>
                            <a:schemeClr val="bg1"/>
                          </a:solidFill>
                          <a:latin typeface="Segoe UI"/>
                        </a:defRPr>
                      </a:lvl2pPr>
                      <a:lvl3pPr marL="914367" algn="l" defTabSz="914367" rtl="0" eaLnBrk="1" latinLnBrk="0" hangingPunct="1">
                        <a:defRPr sz="1765" b="1" kern="1200">
                          <a:solidFill>
                            <a:schemeClr val="bg1"/>
                          </a:solidFill>
                          <a:latin typeface="Segoe UI"/>
                        </a:defRPr>
                      </a:lvl3pPr>
                      <a:lvl4pPr marL="1371550" algn="l" defTabSz="914367" rtl="0" eaLnBrk="1" latinLnBrk="0" hangingPunct="1">
                        <a:defRPr sz="1765" b="1" kern="1200">
                          <a:solidFill>
                            <a:schemeClr val="bg1"/>
                          </a:solidFill>
                          <a:latin typeface="Segoe UI"/>
                        </a:defRPr>
                      </a:lvl4pPr>
                      <a:lvl5pPr marL="1828734" algn="l" defTabSz="914367" rtl="0" eaLnBrk="1" latinLnBrk="0" hangingPunct="1">
                        <a:defRPr sz="1765" b="1" kern="1200">
                          <a:solidFill>
                            <a:schemeClr val="bg1"/>
                          </a:solidFill>
                          <a:latin typeface="Segoe UI"/>
                        </a:defRPr>
                      </a:lvl5pPr>
                      <a:lvl6pPr marL="2285918" algn="l" defTabSz="914367" rtl="0" eaLnBrk="1" latinLnBrk="0" hangingPunct="1">
                        <a:defRPr sz="1765" b="1" kern="1200">
                          <a:solidFill>
                            <a:schemeClr val="bg1"/>
                          </a:solidFill>
                          <a:latin typeface="Segoe UI"/>
                        </a:defRPr>
                      </a:lvl6pPr>
                      <a:lvl7pPr marL="2743101" algn="l" defTabSz="914367" rtl="0" eaLnBrk="1" latinLnBrk="0" hangingPunct="1">
                        <a:defRPr sz="1765" b="1" kern="1200">
                          <a:solidFill>
                            <a:schemeClr val="bg1"/>
                          </a:solidFill>
                          <a:latin typeface="Segoe UI"/>
                        </a:defRPr>
                      </a:lvl7pPr>
                      <a:lvl8pPr marL="3200284" algn="l" defTabSz="914367" rtl="0" eaLnBrk="1" latinLnBrk="0" hangingPunct="1">
                        <a:defRPr sz="1765" b="1" kern="1200">
                          <a:solidFill>
                            <a:schemeClr val="bg1"/>
                          </a:solidFill>
                          <a:latin typeface="Segoe UI"/>
                        </a:defRPr>
                      </a:lvl8pPr>
                      <a:lvl9pPr marL="3657469" algn="l" defTabSz="914367" rtl="0" eaLnBrk="1" latinLnBrk="0" hangingPunct="1">
                        <a:defRPr sz="1765" b="1" kern="1200">
                          <a:solidFill>
                            <a:schemeClr val="bg1"/>
                          </a:solidFill>
                          <a:latin typeface="Segoe UI"/>
                        </a:defRPr>
                      </a:lvl9pPr>
                    </a:lstStyle>
                    <a:p>
                      <a:pPr algn="ctr"/>
                      <a:r>
                        <a:rPr lang="en-US" sz="1600" dirty="0">
                          <a:solidFill>
                            <a:schemeClr val="bg1"/>
                          </a:solidFill>
                          <a:latin typeface="+mj-lt"/>
                        </a:rPr>
                        <a:t>Effective Oct-19</a:t>
                      </a:r>
                    </a:p>
                  </a:txBody>
                  <a:tcPr marL="89642" marR="89642" marT="44821" marB="4482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243A5E"/>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67" rtl="0" eaLnBrk="1" latinLnBrk="0" hangingPunct="1">
                        <a:defRPr sz="1765" b="1" kern="1200">
                          <a:solidFill>
                            <a:schemeClr val="bg1"/>
                          </a:solidFill>
                          <a:latin typeface="Segoe UI"/>
                        </a:defRPr>
                      </a:lvl1pPr>
                      <a:lvl2pPr marL="457183" algn="l" defTabSz="914367" rtl="0" eaLnBrk="1" latinLnBrk="0" hangingPunct="1">
                        <a:defRPr sz="1765" b="1" kern="1200">
                          <a:solidFill>
                            <a:schemeClr val="bg1"/>
                          </a:solidFill>
                          <a:latin typeface="Segoe UI"/>
                        </a:defRPr>
                      </a:lvl2pPr>
                      <a:lvl3pPr marL="914367" algn="l" defTabSz="914367" rtl="0" eaLnBrk="1" latinLnBrk="0" hangingPunct="1">
                        <a:defRPr sz="1765" b="1" kern="1200">
                          <a:solidFill>
                            <a:schemeClr val="bg1"/>
                          </a:solidFill>
                          <a:latin typeface="Segoe UI"/>
                        </a:defRPr>
                      </a:lvl3pPr>
                      <a:lvl4pPr marL="1371550" algn="l" defTabSz="914367" rtl="0" eaLnBrk="1" latinLnBrk="0" hangingPunct="1">
                        <a:defRPr sz="1765" b="1" kern="1200">
                          <a:solidFill>
                            <a:schemeClr val="bg1"/>
                          </a:solidFill>
                          <a:latin typeface="Segoe UI"/>
                        </a:defRPr>
                      </a:lvl4pPr>
                      <a:lvl5pPr marL="1828734" algn="l" defTabSz="914367" rtl="0" eaLnBrk="1" latinLnBrk="0" hangingPunct="1">
                        <a:defRPr sz="1765" b="1" kern="1200">
                          <a:solidFill>
                            <a:schemeClr val="bg1"/>
                          </a:solidFill>
                          <a:latin typeface="Segoe UI"/>
                        </a:defRPr>
                      </a:lvl5pPr>
                      <a:lvl6pPr marL="2285918" algn="l" defTabSz="914367" rtl="0" eaLnBrk="1" latinLnBrk="0" hangingPunct="1">
                        <a:defRPr sz="1765" b="1" kern="1200">
                          <a:solidFill>
                            <a:schemeClr val="bg1"/>
                          </a:solidFill>
                          <a:latin typeface="Segoe UI"/>
                        </a:defRPr>
                      </a:lvl6pPr>
                      <a:lvl7pPr marL="2743101" algn="l" defTabSz="914367" rtl="0" eaLnBrk="1" latinLnBrk="0" hangingPunct="1">
                        <a:defRPr sz="1765" b="1" kern="1200">
                          <a:solidFill>
                            <a:schemeClr val="bg1"/>
                          </a:solidFill>
                          <a:latin typeface="Segoe UI"/>
                        </a:defRPr>
                      </a:lvl7pPr>
                      <a:lvl8pPr marL="3200284" algn="l" defTabSz="914367" rtl="0" eaLnBrk="1" latinLnBrk="0" hangingPunct="1">
                        <a:defRPr sz="1765" b="1" kern="1200">
                          <a:solidFill>
                            <a:schemeClr val="bg1"/>
                          </a:solidFill>
                          <a:latin typeface="Segoe UI"/>
                        </a:defRPr>
                      </a:lvl8pPr>
                      <a:lvl9pPr marL="3657469" algn="l" defTabSz="914367" rtl="0" eaLnBrk="1" latinLnBrk="0" hangingPunct="1">
                        <a:defRPr sz="1765" b="1" kern="1200">
                          <a:solidFill>
                            <a:schemeClr val="bg1"/>
                          </a:solidFill>
                          <a:latin typeface="Segoe UI"/>
                        </a:defRPr>
                      </a:lvl9pPr>
                    </a:lstStyle>
                    <a:p>
                      <a:pPr algn="ctr"/>
                      <a:r>
                        <a:rPr lang="en-US" sz="1600" dirty="0">
                          <a:solidFill>
                            <a:schemeClr val="bg1"/>
                          </a:solidFill>
                          <a:latin typeface="+mj-lt"/>
                        </a:rPr>
                        <a:t>Comments</a:t>
                      </a:r>
                    </a:p>
                  </a:txBody>
                  <a:tcPr marL="89642" marR="89642" marT="44821" marB="44821">
                    <a:lnL w="6350" cap="flat" cmpd="sng" algn="ctr">
                      <a:solidFill>
                        <a:srgbClr val="FFFFFF"/>
                      </a:solidFill>
                      <a:prstDash val="solid"/>
                      <a:round/>
                      <a:headEnd type="none" w="med" len="med"/>
                      <a:tailEnd type="none" w="med" len="med"/>
                    </a:lnL>
                    <a:lnR w="6350" cap="flat" cmpd="sng" algn="ctr">
                      <a:solidFill>
                        <a:srgbClr val="243A5E"/>
                      </a:solidFill>
                      <a:prstDash val="solid"/>
                      <a:round/>
                      <a:headEnd type="none" w="med" len="med"/>
                      <a:tailEnd type="none" w="med" len="med"/>
                    </a:lnR>
                    <a:lnT w="6350" cap="flat" cmpd="sng" algn="ctr">
                      <a:solidFill>
                        <a:srgbClr val="243A5E"/>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075758480"/>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spcAft>
                          <a:spcPts val="300"/>
                        </a:spcAft>
                      </a:pPr>
                      <a:r>
                        <a:rPr lang="en-US" sz="1600" b="1" dirty="0">
                          <a:solidFill>
                            <a:srgbClr val="002060"/>
                          </a:solidFill>
                          <a:latin typeface="+mj-lt"/>
                        </a:rPr>
                        <a:t>Pre-built Connectors</a:t>
                      </a:r>
                    </a:p>
                  </a:txBody>
                  <a:tcPr marL="89642" marR="89642" marT="44821" marB="44821">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173038" indent="-173038">
                        <a:spcAft>
                          <a:spcPts val="300"/>
                        </a:spcAft>
                        <a:buFont typeface="Arial" panose="020B0604020202020204" pitchFamily="34" charset="0"/>
                        <a:buChar char="•"/>
                      </a:pPr>
                      <a:r>
                        <a:rPr lang="en-US" sz="1400" dirty="0">
                          <a:latin typeface="+mn-lt"/>
                        </a:rPr>
                        <a:t>Standard Connectors</a:t>
                      </a:r>
                    </a:p>
                  </a:txBody>
                  <a:tcPr marL="89642" marR="89642" marT="44821" marB="44821">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173038" indent="-173038">
                        <a:spcAft>
                          <a:spcPts val="300"/>
                        </a:spcAft>
                        <a:buFont typeface="Arial" panose="020B0604020202020204" pitchFamily="34" charset="0"/>
                        <a:buChar char="•"/>
                      </a:pPr>
                      <a:r>
                        <a:rPr lang="en-US" sz="1400" dirty="0">
                          <a:latin typeface="+mn-lt"/>
                        </a:rPr>
                        <a:t>Standard Connectors (updated)</a:t>
                      </a:r>
                    </a:p>
                  </a:txBody>
                  <a:tcPr marL="89642" marR="89642" marT="44821" marB="44821">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173038" indent="-173038">
                        <a:spcAft>
                          <a:spcPts val="300"/>
                        </a:spcAft>
                        <a:buFont typeface="Arial" panose="020B0604020202020204" pitchFamily="34" charset="0"/>
                        <a:buChar char="•"/>
                      </a:pPr>
                      <a:r>
                        <a:rPr lang="en-US" sz="1400" kern="1200" dirty="0">
                          <a:solidFill>
                            <a:schemeClr val="dk1"/>
                          </a:solidFill>
                          <a:latin typeface="+mn-lt"/>
                          <a:ea typeface="+mn-ea"/>
                          <a:cs typeface="+mn-cs"/>
                        </a:rPr>
                        <a:t>Standard connectors being aligned with intent</a:t>
                      </a:r>
                      <a:endParaRPr lang="en-US" sz="1400" kern="1200" dirty="0">
                        <a:solidFill>
                          <a:schemeClr val="dk1"/>
                        </a:solidFill>
                        <a:highlight>
                          <a:srgbClr val="FFFF00"/>
                        </a:highlight>
                        <a:latin typeface="+mn-lt"/>
                        <a:ea typeface="+mn-ea"/>
                        <a:cs typeface="+mn-cs"/>
                      </a:endParaRPr>
                    </a:p>
                    <a:p>
                      <a:pPr marL="173038" indent="-173038">
                        <a:spcAft>
                          <a:spcPts val="300"/>
                        </a:spcAft>
                        <a:buFont typeface="Arial" panose="020B0604020202020204" pitchFamily="34" charset="0"/>
                        <a:buChar char="•"/>
                      </a:pPr>
                      <a:r>
                        <a:rPr lang="en-US" sz="1400" kern="1200" dirty="0">
                          <a:solidFill>
                            <a:schemeClr val="dk1"/>
                          </a:solidFill>
                          <a:latin typeface="+mn-lt"/>
                          <a:ea typeface="+mn-ea"/>
                          <a:cs typeface="+mn-cs"/>
                          <a:hlinkClick r:id="" action="ppaction://noaction"/>
                        </a:rPr>
                        <a:t>Azure, SQL &amp; Dynamics</a:t>
                      </a:r>
                      <a:r>
                        <a:rPr lang="en-US" sz="1400" kern="1200" dirty="0">
                          <a:solidFill>
                            <a:schemeClr val="dk1"/>
                          </a:solidFill>
                          <a:latin typeface="+mn-lt"/>
                          <a:ea typeface="+mn-ea"/>
                          <a:cs typeface="+mn-cs"/>
                        </a:rPr>
                        <a:t> connectors moving to “</a:t>
                      </a:r>
                      <a:r>
                        <a:rPr lang="en-US" sz="1400" kern="1200" dirty="0">
                          <a:solidFill>
                            <a:schemeClr val="dk1"/>
                          </a:solidFill>
                          <a:latin typeface="+mj-lt"/>
                          <a:ea typeface="+mn-ea"/>
                          <a:cs typeface="+mn-cs"/>
                        </a:rPr>
                        <a:t>Premium</a:t>
                      </a:r>
                      <a:r>
                        <a:rPr lang="en-US" sz="1400" kern="1200" dirty="0">
                          <a:solidFill>
                            <a:schemeClr val="dk1"/>
                          </a:solidFill>
                          <a:latin typeface="+mn-lt"/>
                          <a:ea typeface="+mn-ea"/>
                          <a:cs typeface="+mn-cs"/>
                        </a:rPr>
                        <a:t>” </a:t>
                      </a:r>
                      <a:r>
                        <a:rPr lang="en-US" sz="1400" b="0" kern="1200" dirty="0">
                          <a:solidFill>
                            <a:schemeClr val="dk1"/>
                          </a:solidFill>
                          <a:latin typeface="+mn-lt"/>
                          <a:ea typeface="+mn-ea"/>
                          <a:cs typeface="+mn-cs"/>
                        </a:rPr>
                        <a:t>category</a:t>
                      </a:r>
                      <a:endParaRPr lang="en-US" sz="1400" b="0" dirty="0">
                        <a:latin typeface="+mn-lt"/>
                      </a:endParaRPr>
                    </a:p>
                  </a:txBody>
                  <a:tcPr marL="89642" marR="89642" marT="44821" marB="44821">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53636650"/>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spcAft>
                          <a:spcPts val="300"/>
                        </a:spcAft>
                      </a:pPr>
                      <a:r>
                        <a:rPr lang="en-US" sz="1600" b="1" dirty="0">
                          <a:solidFill>
                            <a:srgbClr val="002060"/>
                          </a:solidFill>
                          <a:latin typeface="+mj-lt"/>
                        </a:rPr>
                        <a:t>Flow limits</a:t>
                      </a:r>
                    </a:p>
                  </a:txBody>
                  <a:tcPr marL="89642" marR="89642" marT="44821" marB="44821">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173038" lvl="0" indent="-173038">
                        <a:spcAft>
                          <a:spcPts val="300"/>
                        </a:spcAft>
                        <a:buFont typeface="Arial" panose="020B0604020202020204" pitchFamily="34" charset="0"/>
                        <a:buChar char="•"/>
                      </a:pPr>
                      <a:r>
                        <a:rPr lang="en-US" sz="1400" b="0" i="0" u="none" strike="noStrike" noProof="0" dirty="0">
                          <a:latin typeface="+mj-lt"/>
                        </a:rPr>
                        <a:t>Caps</a:t>
                      </a:r>
                      <a:r>
                        <a:rPr lang="en-US" sz="1400" b="0" i="0" u="none" strike="noStrike" noProof="0" dirty="0">
                          <a:latin typeface="+mn-lt"/>
                        </a:rPr>
                        <a:t> on tenant-wide monthly flow runs</a:t>
                      </a:r>
                    </a:p>
                    <a:p>
                      <a:pPr marL="173038" lvl="0" indent="-173038">
                        <a:spcAft>
                          <a:spcPts val="300"/>
                        </a:spcAft>
                        <a:buFont typeface="Arial" panose="020B0604020202020204" pitchFamily="34" charset="0"/>
                        <a:buChar char="•"/>
                      </a:pPr>
                      <a:r>
                        <a:rPr lang="en-US" sz="1400" b="0" i="0" u="none" strike="noStrike" noProof="0" dirty="0">
                          <a:latin typeface="+mj-lt"/>
                        </a:rPr>
                        <a:t>Limits</a:t>
                      </a:r>
                      <a:r>
                        <a:rPr lang="en-US" sz="1400" b="0" i="0" u="none" strike="noStrike" noProof="0" dirty="0">
                          <a:latin typeface="+mn-lt"/>
                        </a:rPr>
                        <a:t> on flow trigger frequency</a:t>
                      </a:r>
                    </a:p>
                  </a:txBody>
                  <a:tcPr marL="89642" marR="89642" marT="44821" marB="44821">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173038" lvl="0" indent="-173038">
                        <a:spcAft>
                          <a:spcPts val="300"/>
                        </a:spcAft>
                        <a:buFont typeface="Arial" panose="020B0604020202020204" pitchFamily="34" charset="0"/>
                        <a:buChar char="•"/>
                      </a:pPr>
                      <a:r>
                        <a:rPr lang="en-US" sz="1400" b="0" i="0" u="none" strike="noStrike" noProof="0" dirty="0">
                          <a:latin typeface="+mj-lt"/>
                        </a:rPr>
                        <a:t>No metering/limit </a:t>
                      </a:r>
                      <a:r>
                        <a:rPr lang="en-US" sz="1400" b="0" i="0" u="none" strike="noStrike" noProof="0" dirty="0">
                          <a:latin typeface="+mn-lt"/>
                        </a:rPr>
                        <a:t>on runs</a:t>
                      </a:r>
                    </a:p>
                    <a:p>
                      <a:pPr marL="173038" lvl="0" indent="-173038">
                        <a:spcAft>
                          <a:spcPts val="300"/>
                        </a:spcAft>
                        <a:buFont typeface="Arial" panose="020B0604020202020204" pitchFamily="34" charset="0"/>
                        <a:buChar char="•"/>
                      </a:pPr>
                      <a:r>
                        <a:rPr lang="en-US" sz="1400" b="0" i="0" u="none" strike="noStrike" noProof="0" dirty="0">
                          <a:latin typeface="+mn-lt"/>
                        </a:rPr>
                        <a:t>No limits on trigger frequency</a:t>
                      </a:r>
                    </a:p>
                  </a:txBody>
                  <a:tcPr marL="89642" marR="89642" marT="44821" marB="44821">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173038" indent="-173038">
                        <a:spcAft>
                          <a:spcPts val="300"/>
                        </a:spcAft>
                        <a:buFont typeface="Arial" panose="020B0604020202020204" pitchFamily="34" charset="0"/>
                        <a:buChar char="•"/>
                      </a:pPr>
                      <a:r>
                        <a:rPr lang="en-US" sz="1400" b="0" i="0" u="none" strike="noStrike" noProof="0" dirty="0">
                          <a:latin typeface="+mn-lt"/>
                        </a:rPr>
                        <a:t>As a result of the changes, subset of users </a:t>
                      </a:r>
                      <a:r>
                        <a:rPr lang="en-US" sz="1400" b="0" i="0" u="none" strike="noStrike" noProof="0" dirty="0">
                          <a:latin typeface="+mj-lt"/>
                        </a:rPr>
                        <a:t>cannot exhaust</a:t>
                      </a:r>
                      <a:r>
                        <a:rPr lang="en-US" sz="1400" b="0" i="0" u="none" strike="noStrike" noProof="0" dirty="0">
                          <a:latin typeface="+mn-lt"/>
                        </a:rPr>
                        <a:t> flow capacity shared org-wide</a:t>
                      </a:r>
                    </a:p>
                  </a:txBody>
                  <a:tcPr marL="89642" marR="89642" marT="44821" marB="44821">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20069801"/>
                  </a:ext>
                </a:extLst>
              </a:tr>
              <a:tr h="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a:spcAft>
                          <a:spcPts val="300"/>
                        </a:spcAft>
                      </a:pPr>
                      <a:r>
                        <a:rPr lang="en-US" sz="1600" b="1" dirty="0">
                          <a:solidFill>
                            <a:srgbClr val="002060"/>
                          </a:solidFill>
                          <a:latin typeface="+mj-lt"/>
                        </a:rPr>
                        <a:t>Usage capacity</a:t>
                      </a:r>
                    </a:p>
                  </a:txBody>
                  <a:tcPr marL="89642" marR="89642" marT="44821" marB="44821">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173038" marR="0" lvl="0" indent="-173038" algn="l">
                        <a:lnSpc>
                          <a:spcPct val="100000"/>
                        </a:lnSpc>
                        <a:spcBef>
                          <a:spcPts val="0"/>
                        </a:spcBef>
                        <a:spcAft>
                          <a:spcPts val="300"/>
                        </a:spcAft>
                        <a:buFont typeface="Arial" panose="020B0604020202020204" pitchFamily="34" charset="0"/>
                        <a:buChar char="•"/>
                      </a:pPr>
                      <a:r>
                        <a:rPr lang="en-US" sz="1400" dirty="0">
                          <a:latin typeface="+mn-lt"/>
                        </a:rPr>
                        <a:t>Subject to service limits for service protection</a:t>
                      </a:r>
                    </a:p>
                  </a:txBody>
                  <a:tcPr marL="89642" marR="89642" marT="44821" marB="44821">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173038" marR="0" lvl="0" indent="-173038" algn="l">
                        <a:lnSpc>
                          <a:spcPct val="100000"/>
                        </a:lnSpc>
                        <a:spcBef>
                          <a:spcPts val="0"/>
                        </a:spcBef>
                        <a:spcAft>
                          <a:spcPts val="300"/>
                        </a:spcAft>
                        <a:buFont typeface="Arial" panose="020B0604020202020204" pitchFamily="34" charset="0"/>
                        <a:buChar char="•"/>
                      </a:pPr>
                      <a:r>
                        <a:rPr lang="en-US" sz="1400" dirty="0">
                          <a:latin typeface="+mn-lt"/>
                        </a:rPr>
                        <a:t>Subject to service limits</a:t>
                      </a:r>
                    </a:p>
                    <a:p>
                      <a:pPr marL="173038" marR="0" lvl="0" indent="-173038" algn="l">
                        <a:lnSpc>
                          <a:spcPct val="100000"/>
                        </a:lnSpc>
                        <a:spcBef>
                          <a:spcPts val="0"/>
                        </a:spcBef>
                        <a:spcAft>
                          <a:spcPts val="300"/>
                        </a:spcAft>
                        <a:buFont typeface="Arial" panose="020B0604020202020204" pitchFamily="34" charset="0"/>
                        <a:buChar char="•"/>
                      </a:pPr>
                      <a:r>
                        <a:rPr lang="en-US" sz="1400" dirty="0">
                          <a:latin typeface="+mj-lt"/>
                        </a:rPr>
                        <a:t>Usage entitlement </a:t>
                      </a:r>
                      <a:r>
                        <a:rPr lang="en-US" sz="1400" dirty="0">
                          <a:latin typeface="+mn-lt"/>
                        </a:rPr>
                        <a:t>set to 2,000 daily API requests per user</a:t>
                      </a:r>
                    </a:p>
                  </a:txBody>
                  <a:tcPr marL="89642" marR="89642" marT="44821" marB="44821">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pPr marL="173038" marR="0" lvl="0" indent="-173038" algn="l" rtl="0" eaLnBrk="1" fontAlgn="auto" latinLnBrk="0" hangingPunct="1">
                        <a:lnSpc>
                          <a:spcPct val="100000"/>
                        </a:lnSpc>
                        <a:spcBef>
                          <a:spcPts val="0"/>
                        </a:spcBef>
                        <a:spcAft>
                          <a:spcPts val="300"/>
                        </a:spcAft>
                        <a:buFont typeface="Arial" panose="020B0604020202020204" pitchFamily="34" charset="0"/>
                        <a:buChar char="•"/>
                      </a:pPr>
                      <a:r>
                        <a:rPr lang="en-US" sz="1400" b="0" i="0" u="none" strike="noStrike" noProof="0" dirty="0">
                          <a:latin typeface="+mn-lt"/>
                        </a:rPr>
                        <a:t>Capacity is </a:t>
                      </a:r>
                      <a:r>
                        <a:rPr lang="en-US" sz="1400" b="0" i="0" u="none" strike="noStrike" noProof="0" dirty="0">
                          <a:latin typeface="+mj-lt"/>
                        </a:rPr>
                        <a:t>assured</a:t>
                      </a:r>
                      <a:r>
                        <a:rPr lang="en-US" sz="1400" b="0" i="0" u="none" strike="noStrike" noProof="0" dirty="0">
                          <a:latin typeface="+mn-lt"/>
                        </a:rPr>
                        <a:t> for users (not pooled)</a:t>
                      </a:r>
                    </a:p>
                    <a:p>
                      <a:pPr marL="173038" marR="0" lvl="0" indent="-173038" algn="l">
                        <a:lnSpc>
                          <a:spcPct val="100000"/>
                        </a:lnSpc>
                        <a:spcBef>
                          <a:spcPts val="0"/>
                        </a:spcBef>
                        <a:spcAft>
                          <a:spcPts val="300"/>
                        </a:spcAft>
                        <a:buFont typeface="Arial" panose="020B0604020202020204" pitchFamily="34" charset="0"/>
                        <a:buChar char="•"/>
                      </a:pPr>
                      <a:r>
                        <a:rPr lang="en-US" sz="1400" dirty="0">
                          <a:latin typeface="+mn-lt"/>
                        </a:rPr>
                        <a:t>Per telemetry, </a:t>
                      </a:r>
                      <a:r>
                        <a:rPr lang="en-US" sz="1400" dirty="0">
                          <a:latin typeface="+mj-lt"/>
                        </a:rPr>
                        <a:t>users with normal usage patterns well under the entitlement</a:t>
                      </a:r>
                    </a:p>
                    <a:p>
                      <a:pPr marL="173038" marR="0" lvl="0" indent="-173038" algn="l" rtl="0" eaLnBrk="1" fontAlgn="auto" latinLnBrk="0" hangingPunct="1">
                        <a:lnSpc>
                          <a:spcPct val="100000"/>
                        </a:lnSpc>
                        <a:spcBef>
                          <a:spcPts val="0"/>
                        </a:spcBef>
                        <a:spcAft>
                          <a:spcPts val="300"/>
                        </a:spcAft>
                        <a:buFont typeface="Arial" panose="020B0604020202020204" pitchFamily="34" charset="0"/>
                        <a:buChar char="•"/>
                      </a:pPr>
                      <a:r>
                        <a:rPr lang="en-US" sz="1400" b="0" i="0" u="none" strike="noStrike" noProof="0" dirty="0">
                          <a:latin typeface="+mn-lt"/>
                        </a:rPr>
                        <a:t>Usage capacity is across Power Apps and Power Automate</a:t>
                      </a:r>
                    </a:p>
                  </a:txBody>
                  <a:tcPr marL="89642" marR="89642" marT="44821" marB="44821">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36613572"/>
                  </a:ext>
                </a:extLst>
              </a:tr>
            </a:tbl>
          </a:graphicData>
        </a:graphic>
      </p:graphicFrame>
      <p:sp>
        <p:nvSpPr>
          <p:cNvPr id="13" name="Rectangle 12">
            <a:extLst>
              <a:ext uri="{FF2B5EF4-FFF2-40B4-BE49-F238E27FC236}">
                <a16:creationId xmlns:a16="http://schemas.microsoft.com/office/drawing/2014/main" id="{A18FD62C-C126-457E-AFBD-40B021062850}"/>
              </a:ext>
            </a:extLst>
          </p:cNvPr>
          <p:cNvSpPr>
            <a:spLocks noChangeArrowheads="1"/>
          </p:cNvSpPr>
          <p:nvPr/>
        </p:nvSpPr>
        <p:spPr bwMode="auto">
          <a:xfrm>
            <a:off x="604837" y="1383830"/>
            <a:ext cx="328852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895178" eaLnBrk="1" fontAlgn="base" hangingPunct="1">
              <a:spcBef>
                <a:spcPct val="0"/>
              </a:spcBef>
              <a:spcAft>
                <a:spcPct val="0"/>
              </a:spcAft>
              <a:defRPr/>
            </a:pPr>
            <a:r>
              <a:rPr lang="en-US" altLang="ko-KR" sz="2000" dirty="0">
                <a:solidFill>
                  <a:srgbClr val="243A5E"/>
                </a:solidFill>
                <a:latin typeface="Segoe UI Semibold" panose="020B0702040204020203" pitchFamily="34" charset="0"/>
                <a:ea typeface="Gulim" charset="-127"/>
                <a:cs typeface="Segoe UI Semibold" panose="020B0702040204020203" pitchFamily="34" charset="0"/>
              </a:rPr>
              <a:t>Seeding (Inclusion) intent</a:t>
            </a:r>
          </a:p>
        </p:txBody>
      </p:sp>
      <p:sp>
        <p:nvSpPr>
          <p:cNvPr id="14" name="Rectangle 13">
            <a:extLst>
              <a:ext uri="{FF2B5EF4-FFF2-40B4-BE49-F238E27FC236}">
                <a16:creationId xmlns:a16="http://schemas.microsoft.com/office/drawing/2014/main" id="{0850B037-3224-453F-A29D-AF32336039E3}"/>
              </a:ext>
            </a:extLst>
          </p:cNvPr>
          <p:cNvSpPr/>
          <p:nvPr/>
        </p:nvSpPr>
        <p:spPr>
          <a:xfrm>
            <a:off x="571384" y="1752010"/>
            <a:ext cx="11018520" cy="823368"/>
          </a:xfrm>
          <a:prstGeom prst="rect">
            <a:avLst/>
          </a:prstGeom>
          <a:solidFill>
            <a:srgbClr val="FFFFFF">
              <a:lumMod val="95000"/>
            </a:srgbClr>
          </a:solidFill>
        </p:spPr>
        <p:txBody>
          <a:bodyPr wrap="square" lIns="88900" tIns="38100" rIns="88900" bIns="38100" anchor="ctr">
            <a:noAutofit/>
          </a:bodyPr>
          <a:lstStyle/>
          <a:p>
            <a:pPr marL="0" marR="0" lvl="0" indent="0" defTabSz="914192" eaLnBrk="1" fontAlgn="auto" latinLnBrk="0" hangingPunct="1">
              <a:lnSpc>
                <a:spcPct val="100000"/>
              </a:lnSpc>
              <a:spcBef>
                <a:spcPts val="600"/>
              </a:spcBef>
              <a:spcAft>
                <a:spcPts val="600"/>
              </a:spcAft>
              <a:buClrTx/>
              <a:buSzTx/>
              <a:buFontTx/>
              <a:buNone/>
              <a:tabLst/>
              <a:defRPr/>
            </a:pPr>
            <a:r>
              <a:rPr kumimoji="0" lang="en-US" sz="1800" b="1" i="0" u="none" strike="noStrike" kern="0" cap="none" spc="-10" normalizeH="0" baseline="0" noProof="0" dirty="0">
                <a:ln>
                  <a:noFill/>
                </a:ln>
                <a:solidFill>
                  <a:srgbClr val="243A5E"/>
                </a:solidFill>
                <a:effectLst/>
                <a:uLnTx/>
                <a:uFillTx/>
                <a:latin typeface="Segoe UI Semibold"/>
                <a:cs typeface="Segoe UI Semibold" panose="020B0702040204020203" pitchFamily="34" charset="0"/>
              </a:rPr>
              <a:t>Power Apps &amp; Power Automate for Office 365 </a:t>
            </a:r>
            <a:r>
              <a:rPr kumimoji="0" lang="en-US" sz="1800" b="0" i="0" u="none" strike="noStrike" kern="0" cap="none" spc="-10" normalizeH="0" baseline="0" noProof="0" dirty="0">
                <a:ln>
                  <a:noFill/>
                </a:ln>
                <a:solidFill>
                  <a:srgbClr val="000000"/>
                </a:solidFill>
                <a:effectLst/>
                <a:uLnTx/>
                <a:uFillTx/>
                <a:cs typeface="Segoe UI Semibold" panose="020B0702040204020203" pitchFamily="34" charset="0"/>
              </a:rPr>
              <a:t>allow users to customize &amp; extend Office 365 for productivity scenarios. Broad availability of Power Platform for citizen developers within Office 365 is core to Microsoft's strategy</a:t>
            </a:r>
          </a:p>
        </p:txBody>
      </p:sp>
      <p:pic>
        <p:nvPicPr>
          <p:cNvPr id="490498" name="Picture 2">
            <a:extLst>
              <a:ext uri="{FF2B5EF4-FFF2-40B4-BE49-F238E27FC236}">
                <a16:creationId xmlns:a16="http://schemas.microsoft.com/office/drawing/2014/main" id="{ADF6F102-E4AC-4FFD-80A8-117BFABB6D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52637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B8ED0-6CFB-4B09-9F67-9DF3CEC17F67}"/>
              </a:ext>
            </a:extLst>
          </p:cNvPr>
          <p:cNvSpPr>
            <a:spLocks noGrp="1"/>
          </p:cNvSpPr>
          <p:nvPr>
            <p:ph type="title"/>
          </p:nvPr>
        </p:nvSpPr>
        <p:spPr>
          <a:xfrm>
            <a:off x="838200" y="144393"/>
            <a:ext cx="10515600" cy="1325563"/>
          </a:xfrm>
        </p:spPr>
        <p:txBody>
          <a:bodyPr>
            <a:normAutofit/>
          </a:bodyPr>
          <a:lstStyle/>
          <a:p>
            <a:r>
              <a:rPr lang="en-US" sz="4000" dirty="0"/>
              <a:t>Summary of Power Automate Standalone Plans</a:t>
            </a:r>
            <a:endParaRPr lang="en-US" sz="4000" dirty="0">
              <a:latin typeface="+mn-lt"/>
            </a:endParaRPr>
          </a:p>
        </p:txBody>
      </p:sp>
      <p:graphicFrame>
        <p:nvGraphicFramePr>
          <p:cNvPr id="6" name="Table 5">
            <a:extLst>
              <a:ext uri="{FF2B5EF4-FFF2-40B4-BE49-F238E27FC236}">
                <a16:creationId xmlns:a16="http://schemas.microsoft.com/office/drawing/2014/main" id="{4670B68B-C169-4598-9D7B-959A9B94F129}"/>
              </a:ext>
            </a:extLst>
          </p:cNvPr>
          <p:cNvGraphicFramePr>
            <a:graphicFrameLocks noGrp="1"/>
          </p:cNvGraphicFramePr>
          <p:nvPr>
            <p:extLst>
              <p:ext uri="{D42A27DB-BD31-4B8C-83A1-F6EECF244321}">
                <p14:modId xmlns:p14="http://schemas.microsoft.com/office/powerpoint/2010/main" val="2591293051"/>
              </p:ext>
            </p:extLst>
          </p:nvPr>
        </p:nvGraphicFramePr>
        <p:xfrm>
          <a:off x="455995" y="1239716"/>
          <a:ext cx="11149264" cy="4858390"/>
        </p:xfrm>
        <a:graphic>
          <a:graphicData uri="http://schemas.openxmlformats.org/drawingml/2006/table">
            <a:tbl>
              <a:tblPr firstRow="1">
                <a:effectLst/>
              </a:tblPr>
              <a:tblGrid>
                <a:gridCol w="2240374">
                  <a:extLst>
                    <a:ext uri="{9D8B030D-6E8A-4147-A177-3AD203B41FA5}">
                      <a16:colId xmlns:a16="http://schemas.microsoft.com/office/drawing/2014/main" val="185368794"/>
                    </a:ext>
                  </a:extLst>
                </a:gridCol>
                <a:gridCol w="4553430">
                  <a:extLst>
                    <a:ext uri="{9D8B030D-6E8A-4147-A177-3AD203B41FA5}">
                      <a16:colId xmlns:a16="http://schemas.microsoft.com/office/drawing/2014/main" val="2549234307"/>
                    </a:ext>
                  </a:extLst>
                </a:gridCol>
                <a:gridCol w="2177730">
                  <a:extLst>
                    <a:ext uri="{9D8B030D-6E8A-4147-A177-3AD203B41FA5}">
                      <a16:colId xmlns:a16="http://schemas.microsoft.com/office/drawing/2014/main" val="161526606"/>
                    </a:ext>
                  </a:extLst>
                </a:gridCol>
                <a:gridCol w="2177730">
                  <a:extLst>
                    <a:ext uri="{9D8B030D-6E8A-4147-A177-3AD203B41FA5}">
                      <a16:colId xmlns:a16="http://schemas.microsoft.com/office/drawing/2014/main" val="3581180795"/>
                    </a:ext>
                  </a:extLst>
                </a:gridCol>
              </a:tblGrid>
              <a:tr h="947978">
                <a:tc grid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kern="1200" dirty="0">
                          <a:latin typeface="+mj-lt"/>
                        </a:rPr>
                        <a:t>Plans and capabilities</a:t>
                      </a:r>
                      <a:endParaRPr lang="en-US" sz="1600" b="0" kern="1200" dirty="0">
                        <a:gradFill>
                          <a:gsLst>
                            <a:gs pos="0">
                              <a:schemeClr val="bg2"/>
                            </a:gs>
                            <a:gs pos="100000">
                              <a:schemeClr val="bg1"/>
                            </a:gs>
                          </a:gsLst>
                          <a:lin ang="5400000" scaled="0"/>
                        </a:gradFill>
                        <a:latin typeface="+mj-lt"/>
                        <a:ea typeface="+mn-ea"/>
                        <a:cs typeface="+mn-cs"/>
                      </a:endParaRPr>
                    </a:p>
                  </a:txBody>
                  <a:tcPr marL="91401" marR="91401" marT="45700" marB="4570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algn="l" defTabSz="932742" rtl="0" eaLnBrk="1" latinLnBrk="0" hangingPunct="1"/>
                      <a:endParaRPr lang="en-US" sz="1400" b="0" kern="1200">
                        <a:gradFill>
                          <a:gsLst>
                            <a:gs pos="0">
                              <a:schemeClr val="bg2"/>
                            </a:gs>
                            <a:gs pos="100000">
                              <a:schemeClr val="bg1"/>
                            </a:gs>
                          </a:gsLst>
                          <a:lin ang="5400000" scaled="0"/>
                        </a:gradFill>
                        <a:latin typeface="+mj-lt"/>
                        <a:ea typeface="+mn-ea"/>
                        <a:cs typeface="+mn-cs"/>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rgbClr val="73737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37373"/>
                      </a:solidFill>
                      <a:prstDash val="solid"/>
                      <a:round/>
                      <a:headEnd type="none" w="med" len="med"/>
                      <a:tailEnd type="none" w="med" len="med"/>
                    </a:lnB>
                    <a:solidFill>
                      <a:srgbClr val="3C3C41"/>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r>
                        <a:rPr lang="en-US" sz="1600" b="0" kern="1200" dirty="0">
                          <a:latin typeface="+mj-lt"/>
                        </a:rPr>
                        <a:t>Power Automate</a:t>
                      </a:r>
                    </a:p>
                    <a:p>
                      <a:pPr marL="0" algn="ctr" defTabSz="932742" rtl="0" eaLnBrk="1" latinLnBrk="0" hangingPunct="1"/>
                      <a:r>
                        <a:rPr lang="en-US" sz="1200" b="0" kern="1200" dirty="0">
                          <a:latin typeface="+mj-lt"/>
                        </a:rPr>
                        <a:t>$15</a:t>
                      </a:r>
                    </a:p>
                    <a:p>
                      <a:pPr marL="0" algn="ctr" defTabSz="932742" rtl="0" eaLnBrk="1" latinLnBrk="0" hangingPunct="1"/>
                      <a:r>
                        <a:rPr lang="en-US" sz="1050" b="0" kern="1200" dirty="0">
                          <a:latin typeface="+mj-lt"/>
                        </a:rPr>
                        <a:t>per user/month</a:t>
                      </a:r>
                      <a:endParaRPr lang="en-US" sz="1050" b="0" kern="1200" dirty="0">
                        <a:solidFill>
                          <a:schemeClr val="bg1"/>
                        </a:solidFill>
                        <a:latin typeface="+mj-lt"/>
                        <a:ea typeface="+mn-ea"/>
                        <a:cs typeface="+mn-cs"/>
                      </a:endParaRPr>
                    </a:p>
                  </a:txBody>
                  <a:tcPr marL="91401" marR="91401" marT="45700" marB="4570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r>
                        <a:rPr lang="en-US" sz="1600" b="0" kern="1200" dirty="0">
                          <a:latin typeface="+mj-lt"/>
                        </a:rPr>
                        <a:t>Power Automate</a:t>
                      </a:r>
                    </a:p>
                    <a:p>
                      <a:pPr marL="0" algn="ctr" defTabSz="932742" rtl="0" eaLnBrk="1" latinLnBrk="0" hangingPunct="1"/>
                      <a:r>
                        <a:rPr lang="en-US" sz="1200" b="0" kern="1200" dirty="0">
                          <a:latin typeface="+mj-lt"/>
                        </a:rPr>
                        <a:t>$100 </a:t>
                      </a:r>
                    </a:p>
                    <a:p>
                      <a:pPr marL="0" algn="ctr" defTabSz="932742" rtl="0" eaLnBrk="1" latinLnBrk="0" hangingPunct="1"/>
                      <a:r>
                        <a:rPr lang="en-US" sz="1050" b="0" kern="1200" dirty="0">
                          <a:latin typeface="+mj-lt"/>
                        </a:rPr>
                        <a:t>per flow/month</a:t>
                      </a:r>
                      <a:endParaRPr lang="en-US" sz="1050" b="0" kern="1200" dirty="0">
                        <a:solidFill>
                          <a:schemeClr val="bg1"/>
                        </a:solidFill>
                        <a:latin typeface="+mj-lt"/>
                        <a:ea typeface="+mn-ea"/>
                        <a:cs typeface="+mn-cs"/>
                      </a:endParaRPr>
                    </a:p>
                  </a:txBody>
                  <a:tcPr marL="91401" marR="91401" marT="45700" marB="4570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4080867956"/>
                  </a:ext>
                </a:extLst>
              </a:tr>
              <a:tr h="355492">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b="0" kern="1200" dirty="0">
                          <a:solidFill>
                            <a:srgbClr val="002060"/>
                          </a:solidFill>
                          <a:latin typeface="+mj-lt"/>
                        </a:rPr>
                        <a:t>Execute workflows</a:t>
                      </a:r>
                      <a:endParaRPr lang="en-US" sz="1400" b="0" kern="1200" baseline="30000" dirty="0">
                        <a:solidFill>
                          <a:srgbClr val="002060"/>
                        </a:solidFill>
                        <a:latin typeface="+mj-lt"/>
                        <a:ea typeface="+mn-ea"/>
                        <a:cs typeface="Segoe UI Semibold" panose="020B0702040204020203" pitchFamily="34" charset="0"/>
                      </a:endParaRPr>
                    </a:p>
                  </a:txBody>
                  <a:tcPr marL="91414" marR="0"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kern="1200" dirty="0">
                          <a:latin typeface="+mn-lt"/>
                        </a:rPr>
                        <a:t>Minimum purchase</a:t>
                      </a:r>
                      <a:endParaRPr lang="en-US" sz="1400" b="0" kern="1200" dirty="0">
                        <a:solidFill>
                          <a:srgbClr val="505050"/>
                        </a:solidFill>
                        <a:latin typeface="+mn-lt"/>
                        <a:ea typeface="+mn-ea"/>
                        <a:cs typeface="+mn-cs"/>
                      </a:endParaRPr>
                    </a:p>
                  </a:txBody>
                  <a:tcPr marL="91401" marR="91401" marT="9142" marB="914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mn-lt"/>
                        </a:rPr>
                        <a:t>Not applicable</a:t>
                      </a:r>
                      <a:endParaRPr kumimoji="0" lang="en-US" sz="1400" b="0" i="0" u="none" strike="noStrike" kern="1200" cap="none" spc="0" normalizeH="0" baseline="0" noProof="0" dirty="0">
                        <a:ln>
                          <a:noFill/>
                        </a:ln>
                        <a:solidFill>
                          <a:srgbClr val="505050"/>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mn-lt"/>
                        </a:rPr>
                        <a:t>5 units</a:t>
                      </a:r>
                      <a:endParaRPr kumimoji="0" lang="en-US" sz="1400" b="0" i="0" u="none" strike="noStrike" kern="1200" cap="none" spc="0" normalizeH="0" baseline="0" noProof="0" dirty="0">
                        <a:ln>
                          <a:noFill/>
                        </a:ln>
                        <a:solidFill>
                          <a:srgbClr val="505050"/>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54867893"/>
                  </a:ext>
                </a:extLst>
              </a:tr>
              <a:tr h="355492">
                <a:tc vMerge="1">
                  <a:txBody>
                    <a:bodyPr/>
                    <a:lstStyle/>
                    <a:p>
                      <a:endParaRPr lang="en-US"/>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kern="1200" dirty="0">
                          <a:solidFill>
                            <a:srgbClr val="505050"/>
                          </a:solidFill>
                          <a:latin typeface="+mn-lt"/>
                          <a:ea typeface="+mn-ea"/>
                          <a:cs typeface="+mn-cs"/>
                        </a:rPr>
                        <a:t>User license required?</a:t>
                      </a: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mn-lt"/>
                          <a:sym typeface="Wingdings" panose="05000000000000000000" pitchFamily="2" charset="2"/>
                        </a:rPr>
                        <a:t>Yes</a:t>
                      </a:r>
                      <a:endParaRPr kumimoji="0" lang="en-US" sz="14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a:ln>
                            <a:noFill/>
                          </a:ln>
                          <a:solidFill>
                            <a:schemeClr val="tx1"/>
                          </a:solidFill>
                          <a:effectLst/>
                          <a:uLnTx/>
                          <a:uFillTx/>
                          <a:latin typeface="+mn-lt"/>
                        </a:rPr>
                        <a:t>-</a:t>
                      </a:r>
                      <a:endParaRPr kumimoji="0" lang="en-US" sz="1800" b="1" i="0" u="none" strike="noStrike" kern="1200" cap="none" spc="0" normalizeH="0" baseline="0" noProof="0" dirty="0">
                        <a:ln>
                          <a:noFill/>
                        </a:ln>
                        <a:solidFill>
                          <a:schemeClr val="tx1"/>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30340953"/>
                  </a:ext>
                </a:extLst>
              </a:tr>
              <a:tr h="355492">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0" marR="0" marT="0" marB="0" anchor="ctr">
                    <a:lnL w="12700" cap="flat" cmpd="sng" algn="ctr">
                      <a:solidFill>
                        <a:srgbClr val="75757A"/>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D3D3D3"/>
                      </a:solidFill>
                      <a:prstDash val="solid"/>
                      <a:round/>
                      <a:headEnd type="none" w="med" len="med"/>
                      <a:tailEnd type="none" w="med" len="med"/>
                    </a:lnT>
                    <a:lnB w="12700" cap="flat" cmpd="sng" algn="ctr">
                      <a:solidFill>
                        <a:srgbClr val="D3D3D3"/>
                      </a:solidFill>
                      <a:prstDash val="solid"/>
                      <a:round/>
                      <a:headEnd type="none" w="med" len="med"/>
                      <a:tailEnd type="none" w="med" len="med"/>
                    </a:lnB>
                    <a:solidFill>
                      <a:srgbClr val="75757A"/>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Use business process flows</a:t>
                      </a:r>
                      <a:endParaRPr lang="en-US" sz="1400" b="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00547621"/>
                  </a:ext>
                </a:extLst>
              </a:tr>
              <a:tr h="355492">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400" b="0" kern="1200" dirty="0">
                          <a:solidFill>
                            <a:srgbClr val="002060"/>
                          </a:solidFill>
                          <a:latin typeface="+mj-lt"/>
                        </a:rPr>
                        <a:t>Connect to your data</a:t>
                      </a:r>
                      <a:endParaRPr lang="en-US" sz="1400" b="0" kern="1200" dirty="0">
                        <a:solidFill>
                          <a:srgbClr val="002060"/>
                        </a:solidFill>
                        <a:latin typeface="+mj-lt"/>
                        <a:ea typeface="+mn-ea"/>
                        <a:cs typeface="Segoe UI Semibold" panose="020B0702040204020203" pitchFamily="34" charset="0"/>
                      </a:endParaRPr>
                    </a:p>
                  </a:txBody>
                  <a:tcPr marL="91414" marR="0"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kern="1200" dirty="0">
                          <a:latin typeface="+mn-lt"/>
                        </a:rPr>
                        <a:t>Use pre-built connectors (standard and premium)</a:t>
                      </a:r>
                      <a:endParaRPr lang="en-US" sz="1400" b="0" kern="1200" dirty="0">
                        <a:solidFill>
                          <a:srgbClr val="505050"/>
                        </a:solidFill>
                        <a:latin typeface="+mn-lt"/>
                        <a:ea typeface="+mn-ea"/>
                        <a:cs typeface="+mn-cs"/>
                      </a:endParaRPr>
                    </a:p>
                  </a:txBody>
                  <a:tcPr marL="91401" marR="91401" marT="9142" marB="914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47872314"/>
                  </a:ext>
                </a:extLst>
              </a:tr>
              <a:tr h="355492">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91427" marR="91427" marT="45713" marB="45713" vert="vert270">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75757A"/>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kern="1200" dirty="0">
                          <a:latin typeface="+mn-lt"/>
                        </a:rPr>
                        <a:t>Use custom and on-premises connectors</a:t>
                      </a:r>
                      <a:endParaRPr lang="en-US" sz="1400" b="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178589"/>
                  </a:ext>
                </a:extLst>
              </a:tr>
              <a:tr h="355492">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b="0" kern="1200" dirty="0">
                          <a:solidFill>
                            <a:srgbClr val="002060"/>
                          </a:solidFill>
                          <a:latin typeface="+mj-lt"/>
                        </a:rPr>
                        <a:t>Store and manage data</a:t>
                      </a:r>
                      <a:endParaRPr lang="en-US" sz="1400" b="0" kern="1200" dirty="0">
                        <a:solidFill>
                          <a:srgbClr val="002060"/>
                        </a:solidFill>
                        <a:latin typeface="+mj-lt"/>
                        <a:ea typeface="+mn-ea"/>
                        <a:cs typeface="Segoe UI Semibold" panose="020B0702040204020203" pitchFamily="34" charset="0"/>
                      </a:endParaRPr>
                    </a:p>
                  </a:txBody>
                  <a:tcPr marL="91414" marR="0"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kern="1200" dirty="0">
                          <a:latin typeface="+mn-lt"/>
                        </a:rPr>
                        <a:t>Access to Common Data Service</a:t>
                      </a:r>
                      <a:endParaRPr lang="en-US" sz="1400" b="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50255133"/>
                  </a:ext>
                </a:extLst>
              </a:tr>
              <a:tr h="355492">
                <a:tc vMerge="1">
                  <a:txBody>
                    <a:bodyPr/>
                    <a:lstStyle/>
                    <a:p>
                      <a:pPr marL="0" algn="l" defTabSz="932742" rtl="0" eaLnBrk="1" latinLnBrk="0" hangingPunct="1"/>
                      <a:endParaRPr lang="en-US" sz="1100" b="1" kern="1200">
                        <a:solidFill>
                          <a:schemeClr val="bg1"/>
                        </a:solidFill>
                        <a:latin typeface="+mn-lt"/>
                        <a:ea typeface="+mn-ea"/>
                        <a:cs typeface="+mn-cs"/>
                      </a:endParaRPr>
                    </a:p>
                  </a:txBody>
                  <a:tcPr marR="0" marT="0" marB="0" anchor="ctr">
                    <a:lnL w="12700" cap="flat" cmpd="sng" algn="ctr">
                      <a:solidFill>
                        <a:srgbClr val="75757A"/>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75757A"/>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Create and access custom entities</a:t>
                      </a:r>
                      <a:endParaRPr lang="en-US" sz="1400" b="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rgbClr val="008272"/>
                        </a:solidFill>
                        <a:effectLst/>
                        <a:uLnTx/>
                        <a:uFillTx/>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83324260"/>
                  </a:ext>
                </a:extLst>
              </a:tr>
              <a:tr h="355492">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b="0" kern="1200" dirty="0">
                          <a:solidFill>
                            <a:srgbClr val="002060"/>
                          </a:solidFill>
                          <a:latin typeface="+mj-lt"/>
                        </a:rPr>
                        <a:t>Per license capacity</a:t>
                      </a:r>
                      <a:r>
                        <a:rPr lang="en-US" sz="1400" b="0" kern="1200" baseline="30000" dirty="0">
                          <a:solidFill>
                            <a:srgbClr val="002060"/>
                          </a:solidFill>
                          <a:latin typeface="+mj-lt"/>
                        </a:rPr>
                        <a:t>1</a:t>
                      </a:r>
                      <a:endParaRPr lang="en-US" sz="1400" b="0" kern="1200" baseline="30000" dirty="0">
                        <a:solidFill>
                          <a:srgbClr val="002060"/>
                        </a:solidFill>
                        <a:latin typeface="+mj-lt"/>
                        <a:ea typeface="+mn-ea"/>
                        <a:cs typeface="Segoe UI Semibold" panose="020B0702040204020203" pitchFamily="34" charset="0"/>
                      </a:endParaRPr>
                    </a:p>
                  </a:txBody>
                  <a:tcPr marL="91414" marR="0"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Common Data Service Database Capacity (pooled</a:t>
                      </a:r>
                      <a:r>
                        <a:rPr lang="en-US" sz="1400" kern="1200" baseline="30000" dirty="0">
                          <a:latin typeface="+mn-lt"/>
                        </a:rPr>
                        <a:t>2</a:t>
                      </a:r>
                      <a:r>
                        <a:rPr lang="en-US" sz="1400" kern="1200" dirty="0">
                          <a:latin typeface="+mn-lt"/>
                        </a:rPr>
                        <a:t>)</a:t>
                      </a:r>
                      <a:endParaRPr lang="en-US" sz="1400" b="0" kern="1200" baseline="300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latin typeface="+mn-lt"/>
                        </a:rPr>
                        <a:t>50 MB</a:t>
                      </a:r>
                      <a:endParaRPr lang="en-US" sz="1400" kern="1200" noProof="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latin typeface="+mn-lt"/>
                        </a:rPr>
                        <a:t>50 MB</a:t>
                      </a:r>
                      <a:endParaRPr lang="en-US" sz="1400" kern="1200" noProof="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1730273"/>
                  </a:ext>
                </a:extLst>
              </a:tr>
              <a:tr h="355492">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91427" marR="91427" marT="45713" marB="45713"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lumMod val="75000"/>
                      </a:scheme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Common Data Service File Capacity (pooled</a:t>
                      </a:r>
                      <a:r>
                        <a:rPr lang="en-US" sz="1400" kern="1200" baseline="30000" dirty="0">
                          <a:latin typeface="+mn-lt"/>
                        </a:rPr>
                        <a:t>2</a:t>
                      </a:r>
                      <a:r>
                        <a:rPr lang="en-US" sz="1400" kern="1200" dirty="0">
                          <a:latin typeface="+mn-lt"/>
                        </a:rPr>
                        <a:t>)</a:t>
                      </a:r>
                      <a:endParaRPr lang="en-US" sz="1400" b="0" kern="1200" baseline="300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latin typeface="+mn-lt"/>
                        </a:rPr>
                        <a:t>200 MB</a:t>
                      </a:r>
                      <a:endParaRPr lang="en-US" sz="1400" kern="1200" noProof="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latin typeface="+mn-lt"/>
                        </a:rPr>
                        <a:t>200 MB</a:t>
                      </a:r>
                      <a:endParaRPr lang="en-US" sz="1400" kern="1200" noProof="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5216429"/>
                  </a:ext>
                </a:extLst>
              </a:tr>
              <a:tr h="355492">
                <a:tc vMerge="1">
                  <a:txBody>
                    <a:bodyPr/>
                    <a:lstStyle/>
                    <a:p>
                      <a:pPr marL="0" algn="l" defTabSz="932742" rtl="0" eaLnBrk="1" latinLnBrk="0" hangingPunct="1"/>
                      <a:endParaRPr lang="en-US" sz="1400" b="0" kern="1200" baseline="30000">
                        <a:solidFill>
                          <a:schemeClr val="tx2"/>
                        </a:solidFill>
                        <a:latin typeface="+mj-lt"/>
                        <a:ea typeface="+mn-ea"/>
                        <a:cs typeface="Segoe UI Semibold" panose="020B0702040204020203" pitchFamily="34" charset="0"/>
                      </a:endParaRPr>
                    </a:p>
                  </a:txBody>
                  <a:tcPr marL="91414"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Daily API Requests</a:t>
                      </a:r>
                      <a:r>
                        <a:rPr lang="en-US" sz="1400" kern="1200" baseline="30000" dirty="0">
                          <a:latin typeface="+mn-lt"/>
                        </a:rPr>
                        <a:t>1</a:t>
                      </a:r>
                      <a:endParaRPr lang="en-US" sz="1400" b="0" kern="1200" baseline="300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solidFill>
                            <a:srgbClr val="505050"/>
                          </a:solidFill>
                          <a:latin typeface="+mn-lt"/>
                          <a:ea typeface="+mn-ea"/>
                          <a:cs typeface="+mn-cs"/>
                        </a:rPr>
                        <a:t>5,000</a:t>
                      </a: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noProof="0" dirty="0">
                          <a:solidFill>
                            <a:srgbClr val="505050"/>
                          </a:solidFill>
                          <a:latin typeface="+mn-lt"/>
                          <a:ea typeface="+mn-ea"/>
                          <a:cs typeface="+mn-cs"/>
                        </a:rPr>
                        <a:t>15,000</a:t>
                      </a: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06227208"/>
                  </a:ext>
                </a:extLst>
              </a:tr>
              <a:tr h="355492">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b="0" kern="1200" dirty="0">
                          <a:solidFill>
                            <a:srgbClr val="002060"/>
                          </a:solidFill>
                          <a:latin typeface="+mj-lt"/>
                        </a:rPr>
                        <a:t>Infuse AI</a:t>
                      </a:r>
                      <a:endParaRPr lang="en-US" sz="1400" b="0" kern="1200" dirty="0">
                        <a:solidFill>
                          <a:srgbClr val="002060"/>
                        </a:solidFill>
                        <a:latin typeface="+mj-lt"/>
                        <a:ea typeface="+mn-ea"/>
                        <a:cs typeface="Segoe UI Semibold" panose="020B0702040204020203" pitchFamily="34" charset="0"/>
                      </a:endParaRPr>
                    </a:p>
                  </a:txBody>
                  <a:tcPr marL="91414" marR="0"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400" kern="1200" dirty="0">
                          <a:latin typeface="+mn-lt"/>
                        </a:rPr>
                        <a:t>AI Builder capacity add-on</a:t>
                      </a:r>
                      <a:r>
                        <a:rPr lang="en-US" sz="1400" baseline="30000" dirty="0">
                          <a:latin typeface="+mn-lt"/>
                        </a:rPr>
                        <a:t>3</a:t>
                      </a:r>
                      <a:endParaRPr lang="en-US" sz="1400" b="0" kern="1200" baseline="300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a:t>
                      </a:r>
                      <a:endParaRPr lang="en-US" sz="140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kern="1200" dirty="0">
                          <a:latin typeface="+mn-lt"/>
                        </a:rPr>
                        <a:t>$</a:t>
                      </a:r>
                      <a:endParaRPr lang="en-US" sz="1400" kern="1200" dirty="0">
                        <a:solidFill>
                          <a:srgbClr val="505050"/>
                        </a:solidFill>
                        <a:latin typeface="+mn-lt"/>
                        <a:ea typeface="+mn-ea"/>
                        <a:cs typeface="+mn-cs"/>
                      </a:endParaRPr>
                    </a:p>
                  </a:txBody>
                  <a:tcPr marL="91401" marR="91401" marT="18282" marB="18282"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3893297"/>
                  </a:ext>
                </a:extLst>
              </a:tr>
            </a:tbl>
          </a:graphicData>
        </a:graphic>
      </p:graphicFrame>
      <p:sp>
        <p:nvSpPr>
          <p:cNvPr id="8" name="TextBox 7">
            <a:extLst>
              <a:ext uri="{FF2B5EF4-FFF2-40B4-BE49-F238E27FC236}">
                <a16:creationId xmlns:a16="http://schemas.microsoft.com/office/drawing/2014/main" id="{7C65B270-BF36-469A-806C-F73ECECCD8F8}"/>
              </a:ext>
            </a:extLst>
          </p:cNvPr>
          <p:cNvSpPr txBox="1"/>
          <p:nvPr/>
        </p:nvSpPr>
        <p:spPr>
          <a:xfrm>
            <a:off x="455995" y="6098106"/>
            <a:ext cx="11669086" cy="615501"/>
          </a:xfrm>
          <a:prstGeom prst="rect">
            <a:avLst/>
          </a:prstGeom>
          <a:noFill/>
        </p:spPr>
        <p:txBody>
          <a:bodyPr wrap="square" lIns="0" tIns="91414" rIns="91414" bIns="91414" rtlCol="0" anchor="t">
            <a:spAutoFit/>
          </a:bodyPr>
          <a:lstStyle/>
          <a:p>
            <a:pPr marL="0" marR="0" lvl="0" indent="0" defTabSz="91419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a:ln>
                  <a:noFill/>
                </a:ln>
                <a:solidFill>
                  <a:srgbClr val="3C3C41"/>
                </a:solidFill>
                <a:effectLst/>
                <a:uLnTx/>
                <a:uFillTx/>
              </a:rPr>
              <a:t>1 </a:t>
            </a:r>
            <a:r>
              <a:rPr kumimoji="0" lang="en-US" sz="900" b="0" i="0" u="none" strike="noStrike" kern="0" cap="none" spc="0" normalizeH="0" baseline="0" noProof="0" dirty="0">
                <a:ln>
                  <a:noFill/>
                </a:ln>
                <a:solidFill>
                  <a:srgbClr val="333333"/>
                </a:solidFill>
                <a:effectLst/>
                <a:uLnTx/>
                <a:uFillTx/>
              </a:rPr>
              <a:t>Usage subject to service limits – please review </a:t>
            </a:r>
            <a:r>
              <a:rPr kumimoji="0" lang="en-US" sz="900" b="0" i="0" u="sng" strike="noStrike" kern="0" cap="none" spc="0" normalizeH="0" baseline="0" noProof="0" dirty="0">
                <a:ln>
                  <a:noFill/>
                </a:ln>
                <a:solidFill>
                  <a:srgbClr val="000000"/>
                </a:solidFill>
                <a:effectLst/>
                <a:uLnTx/>
                <a:uFillTx/>
                <a:hlinkClick r:id="rId3"/>
              </a:rPr>
              <a:t>http://aka.ms/platformlimits</a:t>
            </a:r>
            <a:r>
              <a:rPr kumimoji="0" lang="en-US" sz="900" b="0" i="0" u="none" strike="noStrike" kern="0" cap="none" spc="0" normalizeH="0" baseline="0" noProof="0" dirty="0">
                <a:ln>
                  <a:noFill/>
                </a:ln>
                <a:solidFill>
                  <a:srgbClr val="000000"/>
                </a:solidFill>
                <a:effectLst/>
                <a:uLnTx/>
                <a:uFillTx/>
              </a:rPr>
              <a:t> for more details; </a:t>
            </a:r>
            <a:r>
              <a:rPr kumimoji="0" lang="en-US" sz="900" b="0" i="0" u="none" strike="noStrike" kern="0" cap="none" spc="0" normalizeH="0" baseline="0" noProof="0" dirty="0">
                <a:ln>
                  <a:noFill/>
                </a:ln>
                <a:solidFill>
                  <a:srgbClr val="000000"/>
                </a:solidFill>
                <a:effectLst/>
                <a:uLnTx/>
                <a:uFillTx/>
                <a:latin typeface="Segoe UI Semibold"/>
              </a:rPr>
              <a:t>“Power Apps and Power Automate capacity add-on” </a:t>
            </a:r>
            <a:r>
              <a:rPr kumimoji="0" lang="en-US" sz="900" b="0" i="0" u="none" strike="noStrike" kern="0" cap="none" spc="0" normalizeH="0" baseline="0" noProof="0" dirty="0">
                <a:ln>
                  <a:noFill/>
                </a:ln>
                <a:solidFill>
                  <a:srgbClr val="000000"/>
                </a:solidFill>
                <a:effectLst/>
                <a:uLnTx/>
                <a:uFillTx/>
              </a:rPr>
              <a:t>can be purchased to increase daily service limits</a:t>
            </a:r>
            <a:endParaRPr kumimoji="0" lang="en-US" sz="900" b="0" i="0" u="none" strike="noStrike" kern="0" cap="none" spc="0" normalizeH="0" baseline="0" noProof="0" dirty="0">
              <a:ln>
                <a:noFill/>
              </a:ln>
              <a:solidFill>
                <a:srgbClr val="333333"/>
              </a:solidFill>
              <a:effectLst/>
              <a:uLnTx/>
              <a:uFillTx/>
            </a:endParaRPr>
          </a:p>
          <a:p>
            <a:pPr marL="0" marR="0" lvl="0" indent="0" defTabSz="91404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a:ln>
                  <a:noFill/>
                </a:ln>
                <a:solidFill>
                  <a:srgbClr val="000000"/>
                </a:solidFill>
                <a:effectLst/>
                <a:uLnTx/>
                <a:uFillTx/>
              </a:rPr>
              <a:t>2 </a:t>
            </a:r>
            <a:r>
              <a:rPr kumimoji="0" lang="en-US" sz="900" b="0" i="0" u="none" strike="noStrike" kern="0" cap="none" spc="0" normalizeH="0" baseline="0" noProof="0" dirty="0">
                <a:ln>
                  <a:noFill/>
                </a:ln>
                <a:solidFill>
                  <a:srgbClr val="000000"/>
                </a:solidFill>
                <a:effectLst/>
                <a:uLnTx/>
                <a:uFillTx/>
              </a:rPr>
              <a:t>Additional Common Data Service Database/File/Log capacity can be purchased in increments of 1 GB. Common Data Service Database and File capacity are pooled tenant wide.</a:t>
            </a:r>
          </a:p>
          <a:p>
            <a:pPr marL="0" marR="0" lvl="0" indent="0" defTabSz="91404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a:ln>
                  <a:noFill/>
                </a:ln>
                <a:solidFill>
                  <a:srgbClr val="000000"/>
                </a:solidFill>
                <a:effectLst/>
                <a:uLnTx/>
                <a:uFillTx/>
              </a:rPr>
              <a:t>3 </a:t>
            </a:r>
            <a:r>
              <a:rPr kumimoji="0" lang="en-US" sz="900" b="0" i="0" u="none" strike="noStrike" kern="0" cap="none" spc="0" normalizeH="0" baseline="0" noProof="0" dirty="0">
                <a:ln>
                  <a:noFill/>
                </a:ln>
                <a:solidFill>
                  <a:srgbClr val="000000"/>
                </a:solidFill>
                <a:effectLst/>
                <a:uLnTx/>
                <a:uFillTx/>
              </a:rPr>
              <a:t>Purchase AI Builder capacity add-on.</a:t>
            </a:r>
          </a:p>
        </p:txBody>
      </p:sp>
    </p:spTree>
    <p:extLst>
      <p:ext uri="{BB962C8B-B14F-4D97-AF65-F5344CB8AC3E}">
        <p14:creationId xmlns:p14="http://schemas.microsoft.com/office/powerpoint/2010/main" val="3321156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1DD74-ECFF-4F6D-A99A-166E150EA5D9}"/>
              </a:ext>
            </a:extLst>
          </p:cNvPr>
          <p:cNvSpPr>
            <a:spLocks noGrp="1"/>
          </p:cNvSpPr>
          <p:nvPr>
            <p:ph type="title"/>
          </p:nvPr>
        </p:nvSpPr>
        <p:spPr>
          <a:xfrm>
            <a:off x="376331" y="365125"/>
            <a:ext cx="11306325" cy="1325563"/>
          </a:xfrm>
        </p:spPr>
        <p:txBody>
          <a:bodyPr/>
          <a:lstStyle/>
          <a:p>
            <a:r>
              <a:rPr lang="en-US" dirty="0"/>
              <a:t>What is a SharePoint workflow</a:t>
            </a:r>
          </a:p>
        </p:txBody>
      </p:sp>
      <p:sp>
        <p:nvSpPr>
          <p:cNvPr id="3" name="Content Placeholder 2">
            <a:extLst>
              <a:ext uri="{FF2B5EF4-FFF2-40B4-BE49-F238E27FC236}">
                <a16:creationId xmlns:a16="http://schemas.microsoft.com/office/drawing/2014/main" id="{397EFE3C-103F-468B-BBA2-1D8E61F543BB}"/>
              </a:ext>
            </a:extLst>
          </p:cNvPr>
          <p:cNvSpPr>
            <a:spLocks noGrp="1"/>
          </p:cNvSpPr>
          <p:nvPr>
            <p:ph idx="1"/>
          </p:nvPr>
        </p:nvSpPr>
        <p:spPr>
          <a:xfrm>
            <a:off x="376331" y="1912315"/>
            <a:ext cx="6782458" cy="4580560"/>
          </a:xfrm>
        </p:spPr>
        <p:txBody>
          <a:bodyPr>
            <a:normAutofit/>
          </a:bodyPr>
          <a:lstStyle/>
          <a:p>
            <a:r>
              <a:rPr lang="en-US" sz="2400" dirty="0"/>
              <a:t>In the context of SharePoint, a workflow is the automated movement of documents or items through a sequence of actions or tasks that are related to a business process. </a:t>
            </a:r>
            <a:endParaRPr lang="en-US" dirty="0"/>
          </a:p>
        </p:txBody>
      </p:sp>
      <p:pic>
        <p:nvPicPr>
          <p:cNvPr id="5" name="Picture 4">
            <a:extLst>
              <a:ext uri="{FF2B5EF4-FFF2-40B4-BE49-F238E27FC236}">
                <a16:creationId xmlns:a16="http://schemas.microsoft.com/office/drawing/2014/main" id="{514A1F53-0E42-494A-9612-B7B33E77FE7F}"/>
              </a:ext>
            </a:extLst>
          </p:cNvPr>
          <p:cNvPicPr>
            <a:picLocks noChangeAspect="1"/>
          </p:cNvPicPr>
          <p:nvPr/>
        </p:nvPicPr>
        <p:blipFill>
          <a:blip r:embed="rId4"/>
          <a:stretch>
            <a:fillRect/>
          </a:stretch>
        </p:blipFill>
        <p:spPr>
          <a:xfrm>
            <a:off x="8034072" y="904243"/>
            <a:ext cx="3648584" cy="5458587"/>
          </a:xfrm>
          <a:prstGeom prst="rect">
            <a:avLst/>
          </a:prstGeom>
        </p:spPr>
      </p:pic>
    </p:spTree>
    <p:extLst>
      <p:ext uri="{BB962C8B-B14F-4D97-AF65-F5344CB8AC3E}">
        <p14:creationId xmlns:p14="http://schemas.microsoft.com/office/powerpoint/2010/main" val="1083707648"/>
      </p:ext>
    </p:extLst>
  </p:cSld>
  <p:clrMapOvr>
    <a:masterClrMapping/>
  </p:clrMapOvr>
  <p:extLst>
    <p:ext uri="{6950BFC3-D8DA-4A85-94F7-54DA5524770B}">
      <p188:commentRel xmlns:p188="http://schemas.microsoft.com/office/powerpoint/2018/8/main" r:id="rId3"/>
    </p:ext>
  </p:extLs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DA9682E-47F3-46DC-AAF2-9DCAEAFBFE3F}"/>
              </a:ext>
            </a:extLst>
          </p:cNvPr>
          <p:cNvPicPr>
            <a:picLocks noChangeAspect="1"/>
          </p:cNvPicPr>
          <p:nvPr/>
        </p:nvPicPr>
        <p:blipFill>
          <a:blip r:embed="rId3"/>
          <a:stretch>
            <a:fillRect/>
          </a:stretch>
        </p:blipFill>
        <p:spPr>
          <a:xfrm>
            <a:off x="3140241" y="2988959"/>
            <a:ext cx="5583319" cy="3744546"/>
          </a:xfrm>
          <a:prstGeom prst="rect">
            <a:avLst/>
          </a:prstGeom>
        </p:spPr>
      </p:pic>
      <p:sp>
        <p:nvSpPr>
          <p:cNvPr id="2" name="Title 1">
            <a:extLst>
              <a:ext uri="{FF2B5EF4-FFF2-40B4-BE49-F238E27FC236}">
                <a16:creationId xmlns:a16="http://schemas.microsoft.com/office/drawing/2014/main" id="{99B1DD74-ECFF-4F6D-A99A-166E150EA5D9}"/>
              </a:ext>
            </a:extLst>
          </p:cNvPr>
          <p:cNvSpPr>
            <a:spLocks noGrp="1"/>
          </p:cNvSpPr>
          <p:nvPr>
            <p:ph type="title"/>
          </p:nvPr>
        </p:nvSpPr>
        <p:spPr>
          <a:xfrm>
            <a:off x="376330" y="244810"/>
            <a:ext cx="11306326" cy="1325563"/>
          </a:xfrm>
        </p:spPr>
        <p:txBody>
          <a:bodyPr>
            <a:normAutofit/>
          </a:bodyPr>
          <a:lstStyle/>
          <a:p>
            <a:pPr algn="l"/>
            <a:r>
              <a:rPr lang="en-US" sz="4000" dirty="0"/>
              <a:t>Now…. To insert a custom logic in your flow you have…</a:t>
            </a:r>
          </a:p>
        </p:txBody>
      </p:sp>
      <p:sp>
        <p:nvSpPr>
          <p:cNvPr id="3" name="Content Placeholder 2">
            <a:extLst>
              <a:ext uri="{FF2B5EF4-FFF2-40B4-BE49-F238E27FC236}">
                <a16:creationId xmlns:a16="http://schemas.microsoft.com/office/drawing/2014/main" id="{397EFE3C-103F-468B-BBA2-1D8E61F543BB}"/>
              </a:ext>
            </a:extLst>
          </p:cNvPr>
          <p:cNvSpPr>
            <a:spLocks noGrp="1"/>
          </p:cNvSpPr>
          <p:nvPr>
            <p:ph idx="1"/>
          </p:nvPr>
        </p:nvSpPr>
        <p:spPr>
          <a:xfrm>
            <a:off x="376330" y="1690688"/>
            <a:ext cx="11450711" cy="4922502"/>
          </a:xfrm>
        </p:spPr>
        <p:txBody>
          <a:bodyPr>
            <a:normAutofit/>
          </a:bodyPr>
          <a:lstStyle/>
          <a:p>
            <a:pPr marL="0" indent="0">
              <a:buNone/>
            </a:pPr>
            <a:r>
              <a:rPr lang="en-US" sz="2200" u="sng" dirty="0"/>
              <a:t>Using Azure Functions</a:t>
            </a:r>
          </a:p>
          <a:p>
            <a:pPr marL="0" indent="0">
              <a:buNone/>
            </a:pPr>
            <a:r>
              <a:rPr lang="en-US" sz="2200" dirty="0"/>
              <a:t>You can utilize Azure Functions to leverage the use of Microsoft Flow, which makes it easy for you to automate business processes between Azure services and apps.</a:t>
            </a:r>
          </a:p>
        </p:txBody>
      </p:sp>
      <p:pic>
        <p:nvPicPr>
          <p:cNvPr id="5" name="Picture 4">
            <a:extLst>
              <a:ext uri="{FF2B5EF4-FFF2-40B4-BE49-F238E27FC236}">
                <a16:creationId xmlns:a16="http://schemas.microsoft.com/office/drawing/2014/main" id="{1978227B-DDC2-4291-B850-61A99FD2CAA5}"/>
              </a:ext>
            </a:extLst>
          </p:cNvPr>
          <p:cNvPicPr>
            <a:picLocks noChangeAspect="1"/>
          </p:cNvPicPr>
          <p:nvPr/>
        </p:nvPicPr>
        <p:blipFill>
          <a:blip r:embed="rId4"/>
          <a:stretch>
            <a:fillRect/>
          </a:stretch>
        </p:blipFill>
        <p:spPr>
          <a:xfrm>
            <a:off x="816954" y="2887578"/>
            <a:ext cx="3381192" cy="3577289"/>
          </a:xfrm>
          <a:prstGeom prst="rect">
            <a:avLst/>
          </a:prstGeom>
        </p:spPr>
      </p:pic>
      <p:pic>
        <p:nvPicPr>
          <p:cNvPr id="8" name="Picture 7">
            <a:extLst>
              <a:ext uri="{FF2B5EF4-FFF2-40B4-BE49-F238E27FC236}">
                <a16:creationId xmlns:a16="http://schemas.microsoft.com/office/drawing/2014/main" id="{79D7F2FB-DE16-4167-BF86-6BD56567E603}"/>
              </a:ext>
            </a:extLst>
          </p:cNvPr>
          <p:cNvPicPr>
            <a:picLocks noChangeAspect="1"/>
          </p:cNvPicPr>
          <p:nvPr/>
        </p:nvPicPr>
        <p:blipFill>
          <a:blip r:embed="rId5"/>
          <a:stretch>
            <a:fillRect/>
          </a:stretch>
        </p:blipFill>
        <p:spPr>
          <a:xfrm>
            <a:off x="4957067" y="3018640"/>
            <a:ext cx="6725589" cy="3315163"/>
          </a:xfrm>
          <a:prstGeom prst="rect">
            <a:avLst/>
          </a:prstGeom>
        </p:spPr>
      </p:pic>
    </p:spTree>
    <p:extLst>
      <p:ext uri="{BB962C8B-B14F-4D97-AF65-F5344CB8AC3E}">
        <p14:creationId xmlns:p14="http://schemas.microsoft.com/office/powerpoint/2010/main" val="3612278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80EB6-C1D6-4CD5-A39A-2423E9236F72}"/>
              </a:ext>
            </a:extLst>
          </p:cNvPr>
          <p:cNvSpPr>
            <a:spLocks noGrp="1"/>
          </p:cNvSpPr>
          <p:nvPr>
            <p:ph type="title"/>
          </p:nvPr>
        </p:nvSpPr>
        <p:spPr/>
        <p:txBody>
          <a:bodyPr/>
          <a:lstStyle/>
          <a:p>
            <a:r>
              <a:rPr lang="en-US" dirty="0"/>
              <a:t>Classic SharePoint Workflow Platforms</a:t>
            </a:r>
          </a:p>
        </p:txBody>
      </p:sp>
      <p:graphicFrame>
        <p:nvGraphicFramePr>
          <p:cNvPr id="5" name="Content Placeholder 4">
            <a:extLst>
              <a:ext uri="{FF2B5EF4-FFF2-40B4-BE49-F238E27FC236}">
                <a16:creationId xmlns:a16="http://schemas.microsoft.com/office/drawing/2014/main" id="{4772C6E3-625D-4572-AB92-9B4532566024}"/>
              </a:ext>
            </a:extLst>
          </p:cNvPr>
          <p:cNvGraphicFramePr>
            <a:graphicFrameLocks noGrp="1"/>
          </p:cNvGraphicFramePr>
          <p:nvPr>
            <p:ph idx="1"/>
            <p:extLst>
              <p:ext uri="{D42A27DB-BD31-4B8C-83A1-F6EECF244321}">
                <p14:modId xmlns:p14="http://schemas.microsoft.com/office/powerpoint/2010/main" val="296951286"/>
              </p:ext>
            </p:extLst>
          </p:nvPr>
        </p:nvGraphicFramePr>
        <p:xfrm>
          <a:off x="659306" y="1544185"/>
          <a:ext cx="11149171" cy="50685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050698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B2C58-E265-4B2E-B337-4F7BCE5DDF17}"/>
              </a:ext>
            </a:extLst>
          </p:cNvPr>
          <p:cNvSpPr>
            <a:spLocks noGrp="1"/>
          </p:cNvSpPr>
          <p:nvPr>
            <p:ph type="title"/>
          </p:nvPr>
        </p:nvSpPr>
        <p:spPr>
          <a:xfrm>
            <a:off x="838200" y="365125"/>
            <a:ext cx="10721996" cy="1325563"/>
          </a:xfrm>
        </p:spPr>
        <p:txBody>
          <a:bodyPr/>
          <a:lstStyle/>
          <a:p>
            <a:r>
              <a:rPr lang="en-US" dirty="0"/>
              <a:t>Classic SharePoint Workflow Authoring</a:t>
            </a:r>
          </a:p>
        </p:txBody>
      </p:sp>
      <p:graphicFrame>
        <p:nvGraphicFramePr>
          <p:cNvPr id="8" name="Content Placeholder 4">
            <a:extLst>
              <a:ext uri="{FF2B5EF4-FFF2-40B4-BE49-F238E27FC236}">
                <a16:creationId xmlns:a16="http://schemas.microsoft.com/office/drawing/2014/main" id="{E95C2415-776F-4CAB-A08B-09C4CEED7D6D}"/>
              </a:ext>
            </a:extLst>
          </p:cNvPr>
          <p:cNvGraphicFramePr>
            <a:graphicFrameLocks noGrp="1"/>
          </p:cNvGraphicFramePr>
          <p:nvPr>
            <p:ph idx="1"/>
            <p:extLst>
              <p:ext uri="{D42A27DB-BD31-4B8C-83A1-F6EECF244321}">
                <p14:modId xmlns:p14="http://schemas.microsoft.com/office/powerpoint/2010/main" val="53348562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02033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9F984-AC19-4924-9793-551AAF5CBE98}"/>
              </a:ext>
            </a:extLst>
          </p:cNvPr>
          <p:cNvSpPr>
            <a:spLocks noGrp="1"/>
          </p:cNvSpPr>
          <p:nvPr>
            <p:ph type="title"/>
          </p:nvPr>
        </p:nvSpPr>
        <p:spPr/>
        <p:txBody>
          <a:bodyPr/>
          <a:lstStyle/>
          <a:p>
            <a:r>
              <a:rPr lang="en-US" dirty="0"/>
              <a:t>The Current Landscape</a:t>
            </a:r>
          </a:p>
        </p:txBody>
      </p:sp>
      <p:sp>
        <p:nvSpPr>
          <p:cNvPr id="3" name="Content Placeholder 2">
            <a:extLst>
              <a:ext uri="{FF2B5EF4-FFF2-40B4-BE49-F238E27FC236}">
                <a16:creationId xmlns:a16="http://schemas.microsoft.com/office/drawing/2014/main" id="{41F756A2-1270-4ACE-ABD4-6E7370409E2C}"/>
              </a:ext>
            </a:extLst>
          </p:cNvPr>
          <p:cNvSpPr>
            <a:spLocks noGrp="1"/>
          </p:cNvSpPr>
          <p:nvPr>
            <p:ph idx="1"/>
          </p:nvPr>
        </p:nvSpPr>
        <p:spPr/>
        <p:txBody>
          <a:bodyPr/>
          <a:lstStyle/>
          <a:p>
            <a:pPr marL="0" indent="0">
              <a:buNone/>
            </a:pPr>
            <a:r>
              <a:rPr lang="en-US" dirty="0"/>
              <a:t>For building process automations in SharePoint today and into the future, flows within </a:t>
            </a:r>
            <a:r>
              <a:rPr lang="en-US" b="1" dirty="0"/>
              <a:t>Microsoft Power Automate </a:t>
            </a:r>
            <a:r>
              <a:rPr lang="en-US" dirty="0"/>
              <a:t>is the tool of choice</a:t>
            </a: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graphicFrame>
        <p:nvGraphicFramePr>
          <p:cNvPr id="4" name="Diagram 3">
            <a:extLst>
              <a:ext uri="{FF2B5EF4-FFF2-40B4-BE49-F238E27FC236}">
                <a16:creationId xmlns:a16="http://schemas.microsoft.com/office/drawing/2014/main" id="{EB95848C-4EC6-44A7-94C1-F0E3A5A7F770}"/>
              </a:ext>
            </a:extLst>
          </p:cNvPr>
          <p:cNvGraphicFramePr/>
          <p:nvPr>
            <p:extLst>
              <p:ext uri="{D42A27DB-BD31-4B8C-83A1-F6EECF244321}">
                <p14:modId xmlns:p14="http://schemas.microsoft.com/office/powerpoint/2010/main" val="1768483930"/>
              </p:ext>
            </p:extLst>
          </p:nvPr>
        </p:nvGraphicFramePr>
        <p:xfrm>
          <a:off x="1826109" y="3185261"/>
          <a:ext cx="8128000" cy="32074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00705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622" y="2535350"/>
            <a:ext cx="9859116" cy="2139688"/>
          </a:xfrm>
        </p:spPr>
        <p:txBody>
          <a:bodyPr/>
          <a:lstStyle/>
          <a:p>
            <a:r>
              <a:rPr lang="en-US" dirty="0">
                <a:solidFill>
                  <a:schemeClr val="bg1"/>
                </a:solidFill>
              </a:rPr>
              <a:t>Power Automate Introduction</a:t>
            </a:r>
          </a:p>
        </p:txBody>
      </p:sp>
    </p:spTree>
    <p:extLst>
      <p:ext uri="{BB962C8B-B14F-4D97-AF65-F5344CB8AC3E}">
        <p14:creationId xmlns:p14="http://schemas.microsoft.com/office/powerpoint/2010/main" val="26383464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7tAB420QK6d.FyLe7f6h6Q"/>
</p:tagLst>
</file>

<file path=ppt/theme/theme1.xml><?xml version="1.0" encoding="utf-8"?>
<a:theme xmlns:a="http://schemas.openxmlformats.org/drawingml/2006/main" name="Office Theme">
  <a:themeElements>
    <a:clrScheme name="Power Apps">
      <a:dk1>
        <a:sysClr val="windowText" lastClr="000000"/>
      </a:dk1>
      <a:lt1>
        <a:sysClr val="window" lastClr="FFFFFF"/>
      </a:lt1>
      <a:dk2>
        <a:srgbClr val="44546A"/>
      </a:dk2>
      <a:lt2>
        <a:srgbClr val="E7E6E6"/>
      </a:lt2>
      <a:accent1>
        <a:srgbClr val="954F72"/>
      </a:accent1>
      <a:accent2>
        <a:srgbClr val="C490AA"/>
      </a:accent2>
      <a:accent3>
        <a:srgbClr val="A5A5A5"/>
      </a:accent3>
      <a:accent4>
        <a:srgbClr val="6F3B55"/>
      </a:accent4>
      <a:accent5>
        <a:srgbClr val="4A2739"/>
      </a:accent5>
      <a:accent6>
        <a:srgbClr val="7030A0"/>
      </a:accent6>
      <a:hlink>
        <a:srgbClr val="C490AA"/>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8FB9014236D6489710756647A3C620" ma:contentTypeVersion="6" ma:contentTypeDescription="Create a new document." ma:contentTypeScope="" ma:versionID="342eb3671ec6ef1c00ba2c0c25238946">
  <xsd:schema xmlns:xsd="http://www.w3.org/2001/XMLSchema" xmlns:xs="http://www.w3.org/2001/XMLSchema" xmlns:p="http://schemas.microsoft.com/office/2006/metadata/properties" xmlns:ns2="da73243e-180c-4757-a6fa-cc2f0071e41b" xmlns:ns3="6de14c1d-3997-405a-bb8d-f4ec20a0acfd" targetNamespace="http://schemas.microsoft.com/office/2006/metadata/properties" ma:root="true" ma:fieldsID="0347cd6d2b4a8a3540eae3a612caf62c" ns2:_="" ns3:_="">
    <xsd:import namespace="da73243e-180c-4757-a6fa-cc2f0071e41b"/>
    <xsd:import namespace="6de14c1d-3997-405a-bb8d-f4ec20a0acf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73243e-180c-4757-a6fa-cc2f0071e4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de14c1d-3997-405a-bb8d-f4ec20a0acf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E709A37-05AF-4A5A-BFD3-6BA87F434D1C}">
  <ds:schemaRefs>
    <ds:schemaRef ds:uri="http://purl.org/dc/elements/1.1/"/>
    <ds:schemaRef ds:uri="http://purl.org/dc/terms/"/>
    <ds:schemaRef ds:uri="http://schemas.microsoft.com/office/2006/metadata/properties"/>
    <ds:schemaRef ds:uri="http://schemas.openxmlformats.org/package/2006/metadata/core-properties"/>
    <ds:schemaRef ds:uri="http://schemas.microsoft.com/office/2006/documentManagement/types"/>
    <ds:schemaRef ds:uri="da73243e-180c-4757-a6fa-cc2f0071e41b"/>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6D1163C4-4531-4C6E-8C85-57B222474470}"/>
</file>

<file path=customXml/itemProps3.xml><?xml version="1.0" encoding="utf-8"?>
<ds:datastoreItem xmlns:ds="http://schemas.openxmlformats.org/officeDocument/2006/customXml" ds:itemID="{A31EFD73-AA4A-4004-80D2-682F7A27256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405</TotalTime>
  <Words>6086</Words>
  <Application>Microsoft Office PowerPoint</Application>
  <PresentationFormat>Widescreen</PresentationFormat>
  <Paragraphs>798</Paragraphs>
  <Slides>50</Slides>
  <Notes>45</Notes>
  <HiddenSlides>7</HiddenSlides>
  <MMClips>0</MMClips>
  <ScaleCrop>false</ScaleCrop>
  <HeadingPairs>
    <vt:vector size="4" baseType="variant">
      <vt:variant>
        <vt:lpstr>Theme</vt:lpstr>
      </vt:variant>
      <vt:variant>
        <vt:i4>1</vt:i4>
      </vt:variant>
      <vt:variant>
        <vt:lpstr>Slide Titles</vt:lpstr>
      </vt:variant>
      <vt:variant>
        <vt:i4>50</vt:i4>
      </vt:variant>
    </vt:vector>
  </HeadingPairs>
  <TitlesOfParts>
    <vt:vector size="51" baseType="lpstr">
      <vt:lpstr>Office Theme</vt:lpstr>
      <vt:lpstr>PowerPoint Presentation</vt:lpstr>
      <vt:lpstr>PowerPoint Presentation</vt:lpstr>
      <vt:lpstr>Module Overview</vt:lpstr>
      <vt:lpstr>Introduction </vt:lpstr>
      <vt:lpstr>What is a SharePoint workflow</vt:lpstr>
      <vt:lpstr>Classic SharePoint Workflow Platforms</vt:lpstr>
      <vt:lpstr>Classic SharePoint Workflow Authoring</vt:lpstr>
      <vt:lpstr>The Current Landscape</vt:lpstr>
      <vt:lpstr>Power Automate Introduction</vt:lpstr>
      <vt:lpstr>Modern SharePoint Workflow Authoring</vt:lpstr>
      <vt:lpstr>Work less, do more</vt:lpstr>
      <vt:lpstr>Power Automate Templates</vt:lpstr>
      <vt:lpstr>SharePoint Power Automate Integrations</vt:lpstr>
      <vt:lpstr>Power Automate Connectivity</vt:lpstr>
      <vt:lpstr>Power Automate Mobile App</vt:lpstr>
      <vt:lpstr>Office 365 licenses that include Power Automate</vt:lpstr>
      <vt:lpstr>Summary of Power Automate for Office 365</vt:lpstr>
      <vt:lpstr>Approval Tasks in Power Automate</vt:lpstr>
      <vt:lpstr>SharePoint Designer vs Power Automate: Comparisons</vt:lpstr>
      <vt:lpstr>SharePoint Designer Vs Power Automate – Building Blocks</vt:lpstr>
      <vt:lpstr>SharePoint Designer Workflow Types</vt:lpstr>
      <vt:lpstr>Power Automate Workflow Types</vt:lpstr>
      <vt:lpstr>Environment Comparison</vt:lpstr>
      <vt:lpstr>Navigation Comparision</vt:lpstr>
      <vt:lpstr>SPD Workflow Tasks vs Power Automate Tasks</vt:lpstr>
      <vt:lpstr>SharePoint Built in OOB Workflows vs  Power Automate equivalent options</vt:lpstr>
      <vt:lpstr>Triggers Comparison  </vt:lpstr>
      <vt:lpstr>Actions Comparison  </vt:lpstr>
      <vt:lpstr>SharePoint Designer vs  Power Automate  Actions - List Items</vt:lpstr>
      <vt:lpstr>SharePoint Designer vs  Power Automate   Actions - Files</vt:lpstr>
      <vt:lpstr> SharePoint Designer  vs  Power Automate   Actions - Users and Permissions </vt:lpstr>
      <vt:lpstr> SharePoint Designer vs  Power Automate   Actions - Workflow </vt:lpstr>
      <vt:lpstr> SharePoint Designer  vs  Power Automate   Actions - Tasks </vt:lpstr>
      <vt:lpstr>Variables Comparison  </vt:lpstr>
      <vt:lpstr>Conditions Comparison  </vt:lpstr>
      <vt:lpstr>Stages/Steps Comparison  </vt:lpstr>
      <vt:lpstr>Differences between a business process flow and a regular flow in Power Automate </vt:lpstr>
      <vt:lpstr>Looping Comparison  </vt:lpstr>
      <vt:lpstr>Looping  in Power Automate  </vt:lpstr>
      <vt:lpstr>Expressions Comparison  </vt:lpstr>
      <vt:lpstr>How to check workflow instances - difference</vt:lpstr>
      <vt:lpstr>How to check workflow instances - difference</vt:lpstr>
      <vt:lpstr>PowerPoint Presentation</vt:lpstr>
      <vt:lpstr>Pain points in moving from SPD to Power Automate</vt:lpstr>
      <vt:lpstr>Pain points in moving from SPD to Power Automate</vt:lpstr>
      <vt:lpstr>Appendix</vt:lpstr>
      <vt:lpstr>Power Automate Plans</vt:lpstr>
      <vt:lpstr>Power Apps and Power Automate for Office 365</vt:lpstr>
      <vt:lpstr>Summary of Power Automate Standalone Plans</vt:lpstr>
      <vt:lpstr>Now…. To insert a custom logic in your flow you hav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nny De Angelo</dc:creator>
  <cp:lastModifiedBy>User1</cp:lastModifiedBy>
  <cp:revision>20</cp:revision>
  <dcterms:created xsi:type="dcterms:W3CDTF">2020-07-27T21:25:46Z</dcterms:created>
  <dcterms:modified xsi:type="dcterms:W3CDTF">2020-08-26T14:5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7-27T21:26:10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9116bf3f-ce2e-4c9e-8a24-92fec203dd2d</vt:lpwstr>
  </property>
  <property fmtid="{D5CDD505-2E9C-101B-9397-08002B2CF9AE}" pid="8" name="MSIP_Label_f42aa342-8706-4288-bd11-ebb85995028c_ContentBits">
    <vt:lpwstr>0</vt:lpwstr>
  </property>
  <property fmtid="{D5CDD505-2E9C-101B-9397-08002B2CF9AE}" pid="9" name="ContentTypeId">
    <vt:lpwstr>0x010100A88FB9014236D6489710756647A3C620</vt:lpwstr>
  </property>
</Properties>
</file>